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extended-properties+xml" PartName="/docProps/app.xml"/>
  <Override ContentType="application/vnd.openxmlformats-package.core-properties+xml" PartName="/docProps/core.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76" r:id="rId4"/>
  </p:sldMasterIdLst>
  <p:notesMasterIdLst>
    <p:notesMasterId r:id="rId13"/>
  </p:notesMasterIdLst>
  <p:sldIdLst>
    <p:sldId id="280" r:id="rId5"/>
    <p:sldId id="268" r:id="rId6"/>
    <p:sldId id="281" r:id="rId7"/>
    <p:sldId id="271" r:id="rId8"/>
    <p:sldId id="275" r:id="rId9"/>
    <p:sldId id="278" r:id="rId10"/>
    <p:sldId id="276" r:id="rId11"/>
    <p:sldId id="277" r:id="rId12"/>
  </p:sldIdLst>
  <p:sldSz cx="9906000" cy="6858000" type="A4"/>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様式１：事業概要説明書" id="{90A2C09A-6F42-46AB-B190-B474AB68C7FD}">
          <p14:sldIdLst>
            <p14:sldId id="280"/>
          </p14:sldIdLst>
        </p14:section>
        <p14:section name="様式２：企業等概要書" id="{BD2A8762-D869-4032-9127-E7835D8F6D37}">
          <p14:sldIdLst>
            <p14:sldId id="268"/>
            <p14:sldId id="281"/>
          </p14:sldIdLst>
        </p14:section>
        <p14:section name="様式３：事業計画" id="{B6DC1A3C-FA77-47D8-9D66-A587B4472257}">
          <p14:sldIdLst>
            <p14:sldId id="271"/>
            <p14:sldId id="275"/>
            <p14:sldId id="278"/>
            <p14:sldId id="276"/>
            <p14:sldId id="277"/>
          </p14:sldIdLst>
        </p14:section>
      </p14:sectionLst>
    </p:ext>
    <p:ext uri="{EFAFB233-063F-42B5-8137-9DF3F51BA10A}">
      <p15:sldGuideLst xmlns:p15="http://schemas.microsoft.com/office/powerpoint/2012/main">
        <p15:guide id="1" orient="horz" pos="2160" userDrawn="1">
          <p15:clr>
            <a:srgbClr val="A4A3A4"/>
          </p15:clr>
        </p15:guide>
        <p15:guide id="2" pos="310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橿原 義信" initials="橿原" lastIdx="1" clrIdx="0">
    <p:extLst>
      <p:ext uri="{19B8F6BF-5375-455C-9EA6-DF929625EA0E}">
        <p15:presenceInfo xmlns:p15="http://schemas.microsoft.com/office/powerpoint/2012/main" userId="ebcbbff0de730e7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2B8832-B621-4F81-8288-29B3FF7D1AA5}" v="23" dt="2025-02-06T07:01:52.393"/>
    <p1510:client id="{8257FC91-4837-46B0-88F1-FC974C6C4E09}" v="1" dt="2025-02-06T06:58:14.23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95" autoAdjust="0"/>
    <p:restoredTop sz="87156" autoAdjust="0"/>
  </p:normalViewPr>
  <p:slideViewPr>
    <p:cSldViewPr snapToGrid="0">
      <p:cViewPr>
        <p:scale>
          <a:sx n="50" d="100"/>
          <a:sy n="50" d="100"/>
        </p:scale>
        <p:origin x="1928" y="556"/>
      </p:cViewPr>
      <p:guideLst>
        <p:guide orient="horz" pos="2160"/>
        <p:guide pos="3101"/>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notesMasters/notesMaster1.xml" Type="http://schemas.openxmlformats.org/officeDocument/2006/relationships/notesMaster"/><Relationship Id="rId14" Target="commentAuthors.xml" Type="http://schemas.openxmlformats.org/officeDocument/2006/relationships/commentAuthors"/><Relationship Id="rId15" Target="presProps.xml" Type="http://schemas.openxmlformats.org/officeDocument/2006/relationships/presProps"/><Relationship Id="rId16" Target="viewProps.xml" Type="http://schemas.openxmlformats.org/officeDocument/2006/relationships/viewProps"/><Relationship Id="rId17" Target="theme/theme1.xml" Type="http://schemas.openxmlformats.org/officeDocument/2006/relationships/theme"/><Relationship Id="rId18" Target="tableStyles.xml" Type="http://schemas.openxmlformats.org/officeDocument/2006/relationships/tableStyles"/><Relationship Id="rId19" Target="changesInfos/changesInfo1.xml" Type="http://schemas.microsoft.com/office/2016/11/relationships/changesInfo"/><Relationship Id="rId2" Target="../customXml/item2.xml" Type="http://schemas.openxmlformats.org/officeDocument/2006/relationships/customXml"/><Relationship Id="rId20" Target="revisionInfo.xml" Type="http://schemas.microsoft.com/office/2015/10/relationships/revisionInfo"/><Relationship Id="rId3" Target="slideMasters/slideMaster1.xml" Type="http://schemas.openxmlformats.org/officeDocument/2006/relationships/slideMaster"/><Relationship Id="rId4" Target="slideMasters/slideMaster2.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栗田 理沙" userId="eba0e80e-ed90-4c0e-9448-e4c83d04c86b" providerId="ADAL" clId="{5A2B8832-B621-4F81-8288-29B3FF7D1AA5}"/>
    <pc:docChg chg="undo redo custSel modSld">
      <pc:chgData name="栗田 理沙" userId="eba0e80e-ed90-4c0e-9448-e4c83d04c86b" providerId="ADAL" clId="{5A2B8832-B621-4F81-8288-29B3FF7D1AA5}" dt="2025-02-07T04:47:43.703" v="174"/>
      <pc:docMkLst>
        <pc:docMk/>
      </pc:docMkLst>
      <pc:sldChg chg="modSp mod">
        <pc:chgData name="栗田 理沙" userId="eba0e80e-ed90-4c0e-9448-e4c83d04c86b" providerId="ADAL" clId="{5A2B8832-B621-4F81-8288-29B3FF7D1AA5}" dt="2025-02-06T10:46:14.450" v="28" actId="555"/>
        <pc:sldMkLst>
          <pc:docMk/>
          <pc:sldMk cId="3674952938" sldId="268"/>
        </pc:sldMkLst>
        <pc:spChg chg="mod">
          <ac:chgData name="栗田 理沙" userId="eba0e80e-ed90-4c0e-9448-e4c83d04c86b" providerId="ADAL" clId="{5A2B8832-B621-4F81-8288-29B3FF7D1AA5}" dt="2025-02-06T10:46:14.450" v="28" actId="555"/>
          <ac:spMkLst>
            <pc:docMk/>
            <pc:sldMk cId="3674952938" sldId="268"/>
            <ac:spMk id="2" creationId="{D9C02187-7290-33F2-2826-05E4AE7EDC74}"/>
          </ac:spMkLst>
        </pc:spChg>
      </pc:sldChg>
      <pc:sldChg chg="modSp mod">
        <pc:chgData name="栗田 理沙" userId="eba0e80e-ed90-4c0e-9448-e4c83d04c86b" providerId="ADAL" clId="{5A2B8832-B621-4F81-8288-29B3FF7D1AA5}" dt="2025-02-07T04:45:09.933" v="147"/>
        <pc:sldMkLst>
          <pc:docMk/>
          <pc:sldMk cId="3609511743" sldId="271"/>
        </pc:sldMkLst>
        <pc:spChg chg="mod">
          <ac:chgData name="栗田 理沙" userId="eba0e80e-ed90-4c0e-9448-e4c83d04c86b" providerId="ADAL" clId="{5A2B8832-B621-4F81-8288-29B3FF7D1AA5}" dt="2025-02-06T10:47:34.377" v="32" actId="555"/>
          <ac:spMkLst>
            <pc:docMk/>
            <pc:sldMk cId="3609511743" sldId="271"/>
            <ac:spMk id="2" creationId="{D9C02187-7290-33F2-2826-05E4AE7EDC74}"/>
          </ac:spMkLst>
        </pc:spChg>
        <pc:spChg chg="mod">
          <ac:chgData name="栗田 理沙" userId="eba0e80e-ed90-4c0e-9448-e4c83d04c86b" providerId="ADAL" clId="{5A2B8832-B621-4F81-8288-29B3FF7D1AA5}" dt="2025-02-07T04:45:09.933" v="147"/>
          <ac:spMkLst>
            <pc:docMk/>
            <pc:sldMk cId="3609511743" sldId="271"/>
            <ac:spMk id="54" creationId="{8270898E-8DE6-732E-545F-15ACD3F67F6C}"/>
          </ac:spMkLst>
        </pc:spChg>
      </pc:sldChg>
      <pc:sldChg chg="modSp mod">
        <pc:chgData name="栗田 理沙" userId="eba0e80e-ed90-4c0e-9448-e4c83d04c86b" providerId="ADAL" clId="{5A2B8832-B621-4F81-8288-29B3FF7D1AA5}" dt="2025-02-07T04:45:46.103" v="153"/>
        <pc:sldMkLst>
          <pc:docMk/>
          <pc:sldMk cId="934405436" sldId="275"/>
        </pc:sldMkLst>
        <pc:spChg chg="mod">
          <ac:chgData name="栗田 理沙" userId="eba0e80e-ed90-4c0e-9448-e4c83d04c86b" providerId="ADAL" clId="{5A2B8832-B621-4F81-8288-29B3FF7D1AA5}" dt="2025-02-06T10:47:45.540" v="34" actId="553"/>
          <ac:spMkLst>
            <pc:docMk/>
            <pc:sldMk cId="934405436" sldId="275"/>
            <ac:spMk id="2" creationId="{D9C02187-7290-33F2-2826-05E4AE7EDC74}"/>
          </ac:spMkLst>
        </pc:spChg>
        <pc:spChg chg="mod">
          <ac:chgData name="栗田 理沙" userId="eba0e80e-ed90-4c0e-9448-e4c83d04c86b" providerId="ADAL" clId="{5A2B8832-B621-4F81-8288-29B3FF7D1AA5}" dt="2025-02-07T04:45:46.103" v="153"/>
          <ac:spMkLst>
            <pc:docMk/>
            <pc:sldMk cId="934405436" sldId="275"/>
            <ac:spMk id="3" creationId="{0A9C6F24-F88B-D462-5146-F462DE287C0F}"/>
          </ac:spMkLst>
        </pc:spChg>
      </pc:sldChg>
      <pc:sldChg chg="modSp mod">
        <pc:chgData name="栗田 理沙" userId="eba0e80e-ed90-4c0e-9448-e4c83d04c86b" providerId="ADAL" clId="{5A2B8832-B621-4F81-8288-29B3FF7D1AA5}" dt="2025-02-07T04:46:58.189" v="169" actId="13926"/>
        <pc:sldMkLst>
          <pc:docMk/>
          <pc:sldMk cId="4193319788" sldId="276"/>
        </pc:sldMkLst>
        <pc:spChg chg="mod">
          <ac:chgData name="栗田 理沙" userId="eba0e80e-ed90-4c0e-9448-e4c83d04c86b" providerId="ADAL" clId="{5A2B8832-B621-4F81-8288-29B3FF7D1AA5}" dt="2025-02-06T10:48:04.205" v="38" actId="553"/>
          <ac:spMkLst>
            <pc:docMk/>
            <pc:sldMk cId="4193319788" sldId="276"/>
            <ac:spMk id="2" creationId="{D9C02187-7290-33F2-2826-05E4AE7EDC74}"/>
          </ac:spMkLst>
        </pc:spChg>
        <pc:spChg chg="mod">
          <ac:chgData name="栗田 理沙" userId="eba0e80e-ed90-4c0e-9448-e4c83d04c86b" providerId="ADAL" clId="{5A2B8832-B621-4F81-8288-29B3FF7D1AA5}" dt="2025-02-07T04:46:58.189" v="169" actId="13926"/>
          <ac:spMkLst>
            <pc:docMk/>
            <pc:sldMk cId="4193319788" sldId="276"/>
            <ac:spMk id="8" creationId="{0C3EB04A-A7AA-2194-4D10-FCC6CC2A271F}"/>
          </ac:spMkLst>
        </pc:spChg>
      </pc:sldChg>
      <pc:sldChg chg="modSp mod">
        <pc:chgData name="栗田 理沙" userId="eba0e80e-ed90-4c0e-9448-e4c83d04c86b" providerId="ADAL" clId="{5A2B8832-B621-4F81-8288-29B3FF7D1AA5}" dt="2025-02-07T04:47:43.703" v="174"/>
        <pc:sldMkLst>
          <pc:docMk/>
          <pc:sldMk cId="546388840" sldId="277"/>
        </pc:sldMkLst>
        <pc:spChg chg="mod">
          <ac:chgData name="栗田 理沙" userId="eba0e80e-ed90-4c0e-9448-e4c83d04c86b" providerId="ADAL" clId="{5A2B8832-B621-4F81-8288-29B3FF7D1AA5}" dt="2025-02-06T10:48:18.998" v="40" actId="555"/>
          <ac:spMkLst>
            <pc:docMk/>
            <pc:sldMk cId="546388840" sldId="277"/>
            <ac:spMk id="2" creationId="{D9C02187-7290-33F2-2826-05E4AE7EDC74}"/>
          </ac:spMkLst>
        </pc:spChg>
        <pc:spChg chg="mod">
          <ac:chgData name="栗田 理沙" userId="eba0e80e-ed90-4c0e-9448-e4c83d04c86b" providerId="ADAL" clId="{5A2B8832-B621-4F81-8288-29B3FF7D1AA5}" dt="2025-02-07T04:47:43.703" v="174"/>
          <ac:spMkLst>
            <pc:docMk/>
            <pc:sldMk cId="546388840" sldId="277"/>
            <ac:spMk id="14" creationId="{04FAE4B4-1865-5675-4BA8-12721219DB08}"/>
          </ac:spMkLst>
        </pc:spChg>
      </pc:sldChg>
      <pc:sldChg chg="modSp mod">
        <pc:chgData name="栗田 理沙" userId="eba0e80e-ed90-4c0e-9448-e4c83d04c86b" providerId="ADAL" clId="{5A2B8832-B621-4F81-8288-29B3FF7D1AA5}" dt="2025-02-07T04:46:01.142" v="154"/>
        <pc:sldMkLst>
          <pc:docMk/>
          <pc:sldMk cId="645106282" sldId="278"/>
        </pc:sldMkLst>
        <pc:spChg chg="mod">
          <ac:chgData name="栗田 理沙" userId="eba0e80e-ed90-4c0e-9448-e4c83d04c86b" providerId="ADAL" clId="{5A2B8832-B621-4F81-8288-29B3FF7D1AA5}" dt="2025-02-06T10:47:52.767" v="36" actId="555"/>
          <ac:spMkLst>
            <pc:docMk/>
            <pc:sldMk cId="645106282" sldId="278"/>
            <ac:spMk id="2" creationId="{D9C02187-7290-33F2-2826-05E4AE7EDC74}"/>
          </ac:spMkLst>
        </pc:spChg>
        <pc:spChg chg="mod">
          <ac:chgData name="栗田 理沙" userId="eba0e80e-ed90-4c0e-9448-e4c83d04c86b" providerId="ADAL" clId="{5A2B8832-B621-4F81-8288-29B3FF7D1AA5}" dt="2025-02-07T04:46:01.142" v="154"/>
          <ac:spMkLst>
            <pc:docMk/>
            <pc:sldMk cId="645106282" sldId="278"/>
            <ac:spMk id="54" creationId="{8270898E-8DE6-732E-545F-15ACD3F67F6C}"/>
          </ac:spMkLst>
        </pc:spChg>
      </pc:sldChg>
      <pc:sldChg chg="modSp mod">
        <pc:chgData name="栗田 理沙" userId="eba0e80e-ed90-4c0e-9448-e4c83d04c86b" providerId="ADAL" clId="{5A2B8832-B621-4F81-8288-29B3FF7D1AA5}" dt="2025-02-06T07:01:52.393" v="22" actId="20577"/>
        <pc:sldMkLst>
          <pc:docMk/>
          <pc:sldMk cId="308269083" sldId="280"/>
        </pc:sldMkLst>
        <pc:graphicFrameChg chg="modGraphic">
          <ac:chgData name="栗田 理沙" userId="eba0e80e-ed90-4c0e-9448-e4c83d04c86b" providerId="ADAL" clId="{5A2B8832-B621-4F81-8288-29B3FF7D1AA5}" dt="2025-02-06T07:01:52.393" v="22" actId="20577"/>
          <ac:graphicFrameMkLst>
            <pc:docMk/>
            <pc:sldMk cId="308269083" sldId="280"/>
            <ac:graphicFrameMk id="14" creationId="{465B8625-292D-5DDB-CB8D-E23AFD111FFA}"/>
          </ac:graphicFrameMkLst>
        </pc:graphicFrameChg>
      </pc:sldChg>
      <pc:sldChg chg="modSp mod">
        <pc:chgData name="栗田 理沙" userId="eba0e80e-ed90-4c0e-9448-e4c83d04c86b" providerId="ADAL" clId="{5A2B8832-B621-4F81-8288-29B3FF7D1AA5}" dt="2025-02-06T10:46:27.348" v="30" actId="555"/>
        <pc:sldMkLst>
          <pc:docMk/>
          <pc:sldMk cId="172618148" sldId="281"/>
        </pc:sldMkLst>
        <pc:spChg chg="mod">
          <ac:chgData name="栗田 理沙" userId="eba0e80e-ed90-4c0e-9448-e4c83d04c86b" providerId="ADAL" clId="{5A2B8832-B621-4F81-8288-29B3FF7D1AA5}" dt="2025-02-06T10:46:27.348" v="30" actId="555"/>
          <ac:spMkLst>
            <pc:docMk/>
            <pc:sldMk cId="172618148" sldId="281"/>
            <ac:spMk id="2" creationId="{D9C02187-7290-33F2-2826-05E4AE7EDC74}"/>
          </ac:spMkLst>
        </pc:spChg>
      </pc:sldChg>
    </pc:docChg>
  </pc:docChgLst>
  <pc:docChgLst>
    <pc:chgData name="秋本 純一" userId="fc18372d-aa44-4386-871a-7ad4b860b354" providerId="ADAL" clId="{8257FC91-4837-46B0-88F1-FC974C6C4E09}"/>
    <pc:docChg chg="modSld">
      <pc:chgData name="秋本 純一" userId="fc18372d-aa44-4386-871a-7ad4b860b354" providerId="ADAL" clId="{8257FC91-4837-46B0-88F1-FC974C6C4E09}" dt="2025-02-06T06:58:27.430" v="24"/>
      <pc:docMkLst>
        <pc:docMk/>
      </pc:docMkLst>
      <pc:sldChg chg="addSp modSp mod">
        <pc:chgData name="秋本 純一" userId="fc18372d-aa44-4386-871a-7ad4b860b354" providerId="ADAL" clId="{8257FC91-4837-46B0-88F1-FC974C6C4E09}" dt="2025-02-06T06:58:27.430" v="24"/>
        <pc:sldMkLst>
          <pc:docMk/>
          <pc:sldMk cId="308269083" sldId="280"/>
        </pc:sldMkLst>
        <pc:spChg chg="add mod">
          <ac:chgData name="秋本 純一" userId="fc18372d-aa44-4386-871a-7ad4b860b354" providerId="ADAL" clId="{8257FC91-4837-46B0-88F1-FC974C6C4E09}" dt="2025-02-06T06:58:27.430" v="24"/>
          <ac:spMkLst>
            <pc:docMk/>
            <pc:sldMk cId="308269083" sldId="280"/>
            <ac:spMk id="8" creationId="{018CB40D-7435-8233-D41D-DA94B7537D9E}"/>
          </ac:spMkLst>
        </pc:spChg>
      </pc:sldChg>
    </pc:docChg>
  </pc:docChgLst>
  <pc:docChgLst>
    <pc:chgData name="山根 知明" userId="303ca098-7839-4747-a5f8-906308144822" providerId="ADAL" clId="{79BFA1D8-1D33-4F31-B17C-CDBF594152EF}"/>
    <pc:docChg chg="modSld">
      <pc:chgData name="山根 知明" userId="303ca098-7839-4747-a5f8-906308144822" providerId="ADAL" clId="{79BFA1D8-1D33-4F31-B17C-CDBF594152EF}" dt="2025-02-05T05:13:05.885" v="1" actId="12"/>
      <pc:docMkLst>
        <pc:docMk/>
      </pc:docMkLst>
      <pc:sldChg chg="modSp mod">
        <pc:chgData name="山根 知明" userId="303ca098-7839-4747-a5f8-906308144822" providerId="ADAL" clId="{79BFA1D8-1D33-4F31-B17C-CDBF594152EF}" dt="2025-02-05T05:13:05.885" v="1" actId="12"/>
        <pc:sldMkLst>
          <pc:docMk/>
          <pc:sldMk cId="645106282" sldId="278"/>
        </pc:sldMkLst>
        <pc:spChg chg="mod">
          <ac:chgData name="山根 知明" userId="303ca098-7839-4747-a5f8-906308144822" providerId="ADAL" clId="{79BFA1D8-1D33-4F31-B17C-CDBF594152EF}" dt="2025-02-05T05:13:05.885" v="1" actId="12"/>
          <ac:spMkLst>
            <pc:docMk/>
            <pc:sldMk cId="645106282" sldId="278"/>
            <ac:spMk id="54" creationId="{8270898E-8DE6-732E-545F-15ACD3F67F6C}"/>
          </ac:spMkLst>
        </pc:spChg>
      </pc:sldChg>
    </pc:docChg>
  </pc:docChgLst>
  <pc:docChgLst>
    <pc:chgData name="栗田 理沙" userId="eba0e80e-ed90-4c0e-9448-e4c83d04c86b" providerId="ADAL" clId="{04590368-CF6E-44E3-8AFB-0CA8B2891F56}"/>
    <pc:docChg chg="undo custSel addSld delSld modSld sldOrd modSection">
      <pc:chgData name="栗田 理沙" userId="eba0e80e-ed90-4c0e-9448-e4c83d04c86b" providerId="ADAL" clId="{04590368-CF6E-44E3-8AFB-0CA8B2891F56}" dt="2025-02-06T04:17:42.144" v="1300"/>
      <pc:docMkLst>
        <pc:docMk/>
      </pc:docMkLst>
      <pc:sldChg chg="addSp delSp modSp mod">
        <pc:chgData name="栗田 理沙" userId="eba0e80e-ed90-4c0e-9448-e4c83d04c86b" providerId="ADAL" clId="{04590368-CF6E-44E3-8AFB-0CA8B2891F56}" dt="2025-02-05T05:07:30.085" v="528"/>
        <pc:sldMkLst>
          <pc:docMk/>
          <pc:sldMk cId="3674952938" sldId="268"/>
        </pc:sldMkLst>
        <pc:spChg chg="add del mod">
          <ac:chgData name="栗田 理沙" userId="eba0e80e-ed90-4c0e-9448-e4c83d04c86b" providerId="ADAL" clId="{04590368-CF6E-44E3-8AFB-0CA8B2891F56}" dt="2025-02-05T05:07:29.669" v="527" actId="478"/>
          <ac:spMkLst>
            <pc:docMk/>
            <pc:sldMk cId="3674952938" sldId="268"/>
            <ac:spMk id="6" creationId="{1BBA4612-8200-2B3E-9529-2288A00A091E}"/>
          </ac:spMkLst>
        </pc:spChg>
        <pc:spChg chg="add mod">
          <ac:chgData name="栗田 理沙" userId="eba0e80e-ed90-4c0e-9448-e4c83d04c86b" providerId="ADAL" clId="{04590368-CF6E-44E3-8AFB-0CA8B2891F56}" dt="2025-02-05T05:07:30.085" v="528"/>
          <ac:spMkLst>
            <pc:docMk/>
            <pc:sldMk cId="3674952938" sldId="268"/>
            <ac:spMk id="7" creationId="{D799A37B-A073-0384-EF8D-0585659F187D}"/>
          </ac:spMkLst>
        </pc:spChg>
        <pc:spChg chg="del">
          <ac:chgData name="栗田 理沙" userId="eba0e80e-ed90-4c0e-9448-e4c83d04c86b" providerId="ADAL" clId="{04590368-CF6E-44E3-8AFB-0CA8B2891F56}" dt="2025-02-03T07:50:32.801" v="17" actId="478"/>
          <ac:spMkLst>
            <pc:docMk/>
            <pc:sldMk cId="3674952938" sldId="268"/>
            <ac:spMk id="20" creationId="{442F4C6B-7C9C-A25F-5EA0-8273017F55DF}"/>
          </ac:spMkLst>
        </pc:spChg>
      </pc:sldChg>
      <pc:sldChg chg="addSp delSp modSp mod">
        <pc:chgData name="栗田 理沙" userId="eba0e80e-ed90-4c0e-9448-e4c83d04c86b" providerId="ADAL" clId="{04590368-CF6E-44E3-8AFB-0CA8B2891F56}" dt="2025-02-06T04:15:13.143" v="1292" actId="14100"/>
        <pc:sldMkLst>
          <pc:docMk/>
          <pc:sldMk cId="3609511743" sldId="271"/>
        </pc:sldMkLst>
        <pc:spChg chg="mod">
          <ac:chgData name="栗田 理沙" userId="eba0e80e-ed90-4c0e-9448-e4c83d04c86b" providerId="ADAL" clId="{04590368-CF6E-44E3-8AFB-0CA8B2891F56}" dt="2025-02-06T04:15:13.143" v="1292" actId="14100"/>
          <ac:spMkLst>
            <pc:docMk/>
            <pc:sldMk cId="3609511743" sldId="271"/>
            <ac:spMk id="4" creationId="{9ED91F6C-1AAE-1C4C-E191-F06F743C4F2E}"/>
          </ac:spMkLst>
        </pc:spChg>
        <pc:spChg chg="add mod">
          <ac:chgData name="栗田 理沙" userId="eba0e80e-ed90-4c0e-9448-e4c83d04c86b" providerId="ADAL" clId="{04590368-CF6E-44E3-8AFB-0CA8B2891F56}" dt="2025-02-05T05:07:36.327" v="532"/>
          <ac:spMkLst>
            <pc:docMk/>
            <pc:sldMk cId="3609511743" sldId="271"/>
            <ac:spMk id="6" creationId="{5B63D7DF-A73F-4F31-7A3C-CFE1CC96BAC1}"/>
          </ac:spMkLst>
        </pc:spChg>
        <pc:spChg chg="del">
          <ac:chgData name="栗田 理沙" userId="eba0e80e-ed90-4c0e-9448-e4c83d04c86b" providerId="ADAL" clId="{04590368-CF6E-44E3-8AFB-0CA8B2891F56}" dt="2025-02-05T05:08:32.586" v="546" actId="478"/>
          <ac:spMkLst>
            <pc:docMk/>
            <pc:sldMk cId="3609511743" sldId="271"/>
            <ac:spMk id="7" creationId="{4FF218F9-F9A4-0965-5C8A-81BC1CAF602B}"/>
          </ac:spMkLst>
        </pc:spChg>
        <pc:spChg chg="del mod">
          <ac:chgData name="栗田 理沙" userId="eba0e80e-ed90-4c0e-9448-e4c83d04c86b" providerId="ADAL" clId="{04590368-CF6E-44E3-8AFB-0CA8B2891F56}" dt="2025-02-05T05:07:35.921" v="531" actId="478"/>
          <ac:spMkLst>
            <pc:docMk/>
            <pc:sldMk cId="3609511743" sldId="271"/>
            <ac:spMk id="8" creationId="{683FFA62-F360-9B7B-E19F-44A8A09C0888}"/>
          </ac:spMkLst>
        </pc:spChg>
        <pc:spChg chg="add mod">
          <ac:chgData name="栗田 理沙" userId="eba0e80e-ed90-4c0e-9448-e4c83d04c86b" providerId="ADAL" clId="{04590368-CF6E-44E3-8AFB-0CA8B2891F56}" dt="2025-02-05T05:08:32.957" v="547"/>
          <ac:spMkLst>
            <pc:docMk/>
            <pc:sldMk cId="3609511743" sldId="271"/>
            <ac:spMk id="10" creationId="{977A05D3-2C48-0DB4-9370-4BFBC84BFB06}"/>
          </ac:spMkLst>
        </pc:spChg>
        <pc:spChg chg="mod">
          <ac:chgData name="栗田 理沙" userId="eba0e80e-ed90-4c0e-9448-e4c83d04c86b" providerId="ADAL" clId="{04590368-CF6E-44E3-8AFB-0CA8B2891F56}" dt="2025-02-05T04:56:50.169" v="328" actId="1035"/>
          <ac:spMkLst>
            <pc:docMk/>
            <pc:sldMk cId="3609511743" sldId="271"/>
            <ac:spMk id="54" creationId="{8270898E-8DE6-732E-545F-15ACD3F67F6C}"/>
          </ac:spMkLst>
        </pc:spChg>
        <pc:spChg chg="mod">
          <ac:chgData name="栗田 理沙" userId="eba0e80e-ed90-4c0e-9448-e4c83d04c86b" providerId="ADAL" clId="{04590368-CF6E-44E3-8AFB-0CA8B2891F56}" dt="2025-02-05T04:56:50.169" v="328" actId="1035"/>
          <ac:spMkLst>
            <pc:docMk/>
            <pc:sldMk cId="3609511743" sldId="271"/>
            <ac:spMk id="55" creationId="{D2FAD329-26AD-293E-6AEF-4F6057BF7DD5}"/>
          </ac:spMkLst>
        </pc:spChg>
      </pc:sldChg>
      <pc:sldChg chg="addSp delSp modSp mod">
        <pc:chgData name="栗田 理沙" userId="eba0e80e-ed90-4c0e-9448-e4c83d04c86b" providerId="ADAL" clId="{04590368-CF6E-44E3-8AFB-0CA8B2891F56}" dt="2025-02-06T04:17:31.551" v="1294"/>
        <pc:sldMkLst>
          <pc:docMk/>
          <pc:sldMk cId="934405436" sldId="275"/>
        </pc:sldMkLst>
        <pc:spChg chg="add mod">
          <ac:chgData name="栗田 理沙" userId="eba0e80e-ed90-4c0e-9448-e4c83d04c86b" providerId="ADAL" clId="{04590368-CF6E-44E3-8AFB-0CA8B2891F56}" dt="2025-02-05T05:39:36.138" v="1143"/>
          <ac:spMkLst>
            <pc:docMk/>
            <pc:sldMk cId="934405436" sldId="275"/>
            <ac:spMk id="3" creationId="{0A9C6F24-F88B-D462-5146-F462DE287C0F}"/>
          </ac:spMkLst>
        </pc:spChg>
        <pc:spChg chg="add del mod">
          <ac:chgData name="栗田 理沙" userId="eba0e80e-ed90-4c0e-9448-e4c83d04c86b" providerId="ADAL" clId="{04590368-CF6E-44E3-8AFB-0CA8B2891F56}" dt="2025-02-05T05:07:38.839" v="533" actId="478"/>
          <ac:spMkLst>
            <pc:docMk/>
            <pc:sldMk cId="934405436" sldId="275"/>
            <ac:spMk id="3" creationId="{9C22051B-5BD4-C5B7-CB77-105C9D16C547}"/>
          </ac:spMkLst>
        </pc:spChg>
        <pc:spChg chg="del">
          <ac:chgData name="栗田 理沙" userId="eba0e80e-ed90-4c0e-9448-e4c83d04c86b" providerId="ADAL" clId="{04590368-CF6E-44E3-8AFB-0CA8B2891F56}" dt="2025-02-06T04:17:30.986" v="1293" actId="478"/>
          <ac:spMkLst>
            <pc:docMk/>
            <pc:sldMk cId="934405436" sldId="275"/>
            <ac:spMk id="7" creationId="{AF8B33F0-E156-4F51-5952-296D8DCB3FC8}"/>
          </ac:spMkLst>
        </pc:spChg>
        <pc:spChg chg="del mod">
          <ac:chgData name="栗田 理沙" userId="eba0e80e-ed90-4c0e-9448-e4c83d04c86b" providerId="ADAL" clId="{04590368-CF6E-44E3-8AFB-0CA8B2891F56}" dt="2025-02-05T05:39:42.158" v="1144" actId="478"/>
          <ac:spMkLst>
            <pc:docMk/>
            <pc:sldMk cId="934405436" sldId="275"/>
            <ac:spMk id="8" creationId="{4A1CCD22-1508-F8EE-568B-4EF941F7B57B}"/>
          </ac:spMkLst>
        </pc:spChg>
        <pc:spChg chg="add mod">
          <ac:chgData name="栗田 理沙" userId="eba0e80e-ed90-4c0e-9448-e4c83d04c86b" providerId="ADAL" clId="{04590368-CF6E-44E3-8AFB-0CA8B2891F56}" dt="2025-02-05T05:39:21.651" v="1141"/>
          <ac:spMkLst>
            <pc:docMk/>
            <pc:sldMk cId="934405436" sldId="275"/>
            <ac:spMk id="9" creationId="{151D2A76-1B9E-0A46-3EA8-EF939E0497BE}"/>
          </ac:spMkLst>
        </pc:spChg>
        <pc:spChg chg="del">
          <ac:chgData name="栗田 理沙" userId="eba0e80e-ed90-4c0e-9448-e4c83d04c86b" providerId="ADAL" clId="{04590368-CF6E-44E3-8AFB-0CA8B2891F56}" dt="2025-02-05T05:08:29.910" v="544" actId="478"/>
          <ac:spMkLst>
            <pc:docMk/>
            <pc:sldMk cId="934405436" sldId="275"/>
            <ac:spMk id="10" creationId="{D2FA6FCC-57E8-C2C9-558B-E13F56565431}"/>
          </ac:spMkLst>
        </pc:spChg>
        <pc:spChg chg="add mod">
          <ac:chgData name="栗田 理沙" userId="eba0e80e-ed90-4c0e-9448-e4c83d04c86b" providerId="ADAL" clId="{04590368-CF6E-44E3-8AFB-0CA8B2891F56}" dt="2025-02-06T04:17:31.551" v="1294"/>
          <ac:spMkLst>
            <pc:docMk/>
            <pc:sldMk cId="934405436" sldId="275"/>
            <ac:spMk id="10" creationId="{FA77C46C-B654-DCDE-2524-4255FAAF3C91}"/>
          </ac:spMkLst>
        </pc:spChg>
        <pc:spChg chg="del">
          <ac:chgData name="栗田 理沙" userId="eba0e80e-ed90-4c0e-9448-e4c83d04c86b" providerId="ADAL" clId="{04590368-CF6E-44E3-8AFB-0CA8B2891F56}" dt="2025-02-03T07:51:03.943" v="21" actId="478"/>
          <ac:spMkLst>
            <pc:docMk/>
            <pc:sldMk cId="934405436" sldId="275"/>
            <ac:spMk id="12" creationId="{5A247278-9848-7138-5AA4-C03D64FAD308}"/>
          </ac:spMkLst>
        </pc:spChg>
        <pc:spChg chg="add mod">
          <ac:chgData name="栗田 理沙" userId="eba0e80e-ed90-4c0e-9448-e4c83d04c86b" providerId="ADAL" clId="{04590368-CF6E-44E3-8AFB-0CA8B2891F56}" dt="2025-02-05T05:07:39.208" v="534"/>
          <ac:spMkLst>
            <pc:docMk/>
            <pc:sldMk cId="934405436" sldId="275"/>
            <ac:spMk id="14" creationId="{25E6A8C4-275B-1AA1-90CE-4F842C0E37CF}"/>
          </ac:spMkLst>
        </pc:spChg>
        <pc:spChg chg="add mod">
          <ac:chgData name="栗田 理沙" userId="eba0e80e-ed90-4c0e-9448-e4c83d04c86b" providerId="ADAL" clId="{04590368-CF6E-44E3-8AFB-0CA8B2891F56}" dt="2025-02-05T05:08:30.329" v="545"/>
          <ac:spMkLst>
            <pc:docMk/>
            <pc:sldMk cId="934405436" sldId="275"/>
            <ac:spMk id="15" creationId="{C0BD3BEA-B164-C47A-A123-2F51397C651C}"/>
          </ac:spMkLst>
        </pc:spChg>
        <pc:spChg chg="mod">
          <ac:chgData name="栗田 理沙" userId="eba0e80e-ed90-4c0e-9448-e4c83d04c86b" providerId="ADAL" clId="{04590368-CF6E-44E3-8AFB-0CA8B2891F56}" dt="2025-02-05T05:39:14.247" v="1140" actId="1076"/>
          <ac:spMkLst>
            <pc:docMk/>
            <pc:sldMk cId="934405436" sldId="275"/>
            <ac:spMk id="55" creationId="{D2FAD329-26AD-293E-6AEF-4F6057BF7DD5}"/>
          </ac:spMkLst>
        </pc:spChg>
        <pc:graphicFrameChg chg="add del mod">
          <ac:chgData name="栗田 理沙" userId="eba0e80e-ed90-4c0e-9448-e4c83d04c86b" providerId="ADAL" clId="{04590368-CF6E-44E3-8AFB-0CA8B2891F56}" dt="2025-02-05T04:56:15.669" v="325" actId="478"/>
          <ac:graphicFrameMkLst>
            <pc:docMk/>
            <pc:sldMk cId="934405436" sldId="275"/>
            <ac:graphicFrameMk id="12" creationId="{36F73273-17BA-C143-D3AD-345B70E7ACBE}"/>
          </ac:graphicFrameMkLst>
        </pc:graphicFrameChg>
        <pc:picChg chg="add del mod">
          <ac:chgData name="栗田 理沙" userId="eba0e80e-ed90-4c0e-9448-e4c83d04c86b" providerId="ADAL" clId="{04590368-CF6E-44E3-8AFB-0CA8B2891F56}" dt="2025-02-05T04:54:56.049" v="305" actId="478"/>
          <ac:picMkLst>
            <pc:docMk/>
            <pc:sldMk cId="934405436" sldId="275"/>
            <ac:picMk id="9" creationId="{F21E2F9B-7576-4042-D303-56DAE327378E}"/>
          </ac:picMkLst>
        </pc:picChg>
      </pc:sldChg>
      <pc:sldChg chg="addSp delSp modSp mod">
        <pc:chgData name="栗田 理沙" userId="eba0e80e-ed90-4c0e-9448-e4c83d04c86b" providerId="ADAL" clId="{04590368-CF6E-44E3-8AFB-0CA8B2891F56}" dt="2025-02-06T04:17:38.930" v="1298"/>
        <pc:sldMkLst>
          <pc:docMk/>
          <pc:sldMk cId="4193319788" sldId="276"/>
        </pc:sldMkLst>
        <pc:spChg chg="add del mod">
          <ac:chgData name="栗田 理沙" userId="eba0e80e-ed90-4c0e-9448-e4c83d04c86b" providerId="ADAL" clId="{04590368-CF6E-44E3-8AFB-0CA8B2891F56}" dt="2025-02-05T05:07:46.052" v="537" actId="478"/>
          <ac:spMkLst>
            <pc:docMk/>
            <pc:sldMk cId="4193319788" sldId="276"/>
            <ac:spMk id="4" creationId="{326BC2FC-8DB7-9A63-5495-7AB466A153C2}"/>
          </ac:spMkLst>
        </pc:spChg>
        <pc:spChg chg="add mod">
          <ac:chgData name="栗田 理沙" userId="eba0e80e-ed90-4c0e-9448-e4c83d04c86b" providerId="ADAL" clId="{04590368-CF6E-44E3-8AFB-0CA8B2891F56}" dt="2025-02-06T04:17:38.930" v="1298"/>
          <ac:spMkLst>
            <pc:docMk/>
            <pc:sldMk cId="4193319788" sldId="276"/>
            <ac:spMk id="4" creationId="{4A30C6B7-B1DE-E8EB-21A1-77E319FFFA01}"/>
          </ac:spMkLst>
        </pc:spChg>
        <pc:spChg chg="del">
          <ac:chgData name="栗田 理沙" userId="eba0e80e-ed90-4c0e-9448-e4c83d04c86b" providerId="ADAL" clId="{04590368-CF6E-44E3-8AFB-0CA8B2891F56}" dt="2025-02-06T04:17:38.484" v="1297" actId="478"/>
          <ac:spMkLst>
            <pc:docMk/>
            <pc:sldMk cId="4193319788" sldId="276"/>
            <ac:spMk id="7" creationId="{4F285BBE-3087-0C5A-CEBD-ECD16253FE17}"/>
          </ac:spMkLst>
        </pc:spChg>
        <pc:spChg chg="mod">
          <ac:chgData name="栗田 理沙" userId="eba0e80e-ed90-4c0e-9448-e4c83d04c86b" providerId="ADAL" clId="{04590368-CF6E-44E3-8AFB-0CA8B2891F56}" dt="2025-02-05T04:59:04.158" v="402" actId="207"/>
          <ac:spMkLst>
            <pc:docMk/>
            <pc:sldMk cId="4193319788" sldId="276"/>
            <ac:spMk id="8" creationId="{0C3EB04A-A7AA-2194-4D10-FCC6CC2A271F}"/>
          </ac:spMkLst>
        </pc:spChg>
        <pc:spChg chg="del">
          <ac:chgData name="栗田 理沙" userId="eba0e80e-ed90-4c0e-9448-e4c83d04c86b" providerId="ADAL" clId="{04590368-CF6E-44E3-8AFB-0CA8B2891F56}" dt="2025-02-05T05:08:24.720" v="542" actId="478"/>
          <ac:spMkLst>
            <pc:docMk/>
            <pc:sldMk cId="4193319788" sldId="276"/>
            <ac:spMk id="10" creationId="{B7ACCD61-43FD-AF60-57B3-49DC5B5E6D20}"/>
          </ac:spMkLst>
        </pc:spChg>
        <pc:spChg chg="del">
          <ac:chgData name="栗田 理沙" userId="eba0e80e-ed90-4c0e-9448-e4c83d04c86b" providerId="ADAL" clId="{04590368-CF6E-44E3-8AFB-0CA8B2891F56}" dt="2025-02-03T07:51:07.252" v="23" actId="478"/>
          <ac:spMkLst>
            <pc:docMk/>
            <pc:sldMk cId="4193319788" sldId="276"/>
            <ac:spMk id="12" creationId="{3A3A6E4F-34D3-5398-11EA-324B09EC091E}"/>
          </ac:spMkLst>
        </pc:spChg>
        <pc:spChg chg="add mod">
          <ac:chgData name="栗田 理沙" userId="eba0e80e-ed90-4c0e-9448-e4c83d04c86b" providerId="ADAL" clId="{04590368-CF6E-44E3-8AFB-0CA8B2891F56}" dt="2025-02-05T05:07:46.432" v="538"/>
          <ac:spMkLst>
            <pc:docMk/>
            <pc:sldMk cId="4193319788" sldId="276"/>
            <ac:spMk id="12" creationId="{8709845F-88C7-B543-A167-A5F70F1A56B7}"/>
          </ac:spMkLst>
        </pc:spChg>
        <pc:spChg chg="add mod">
          <ac:chgData name="栗田 理沙" userId="eba0e80e-ed90-4c0e-9448-e4c83d04c86b" providerId="ADAL" clId="{04590368-CF6E-44E3-8AFB-0CA8B2891F56}" dt="2025-02-05T05:08:25.042" v="543"/>
          <ac:spMkLst>
            <pc:docMk/>
            <pc:sldMk cId="4193319788" sldId="276"/>
            <ac:spMk id="14" creationId="{6C3A6EC5-DDD0-4241-2094-BB2D12C84D1B}"/>
          </ac:spMkLst>
        </pc:spChg>
        <pc:graphicFrameChg chg="add del mod">
          <ac:chgData name="栗田 理沙" userId="eba0e80e-ed90-4c0e-9448-e4c83d04c86b" providerId="ADAL" clId="{04590368-CF6E-44E3-8AFB-0CA8B2891F56}" dt="2025-02-05T04:58:23.735" v="399" actId="478"/>
          <ac:graphicFrameMkLst>
            <pc:docMk/>
            <pc:sldMk cId="4193319788" sldId="276"/>
            <ac:graphicFrameMk id="9" creationId="{33433213-A999-8AAC-F8E0-44C8514E684F}"/>
          </ac:graphicFrameMkLst>
        </pc:graphicFrameChg>
      </pc:sldChg>
      <pc:sldChg chg="addSp delSp modSp mod ord">
        <pc:chgData name="栗田 理沙" userId="eba0e80e-ed90-4c0e-9448-e4c83d04c86b" providerId="ADAL" clId="{04590368-CF6E-44E3-8AFB-0CA8B2891F56}" dt="2025-02-06T04:17:42.144" v="1300"/>
        <pc:sldMkLst>
          <pc:docMk/>
          <pc:sldMk cId="546388840" sldId="277"/>
        </pc:sldMkLst>
        <pc:spChg chg="add del mod">
          <ac:chgData name="栗田 理沙" userId="eba0e80e-ed90-4c0e-9448-e4c83d04c86b" providerId="ADAL" clId="{04590368-CF6E-44E3-8AFB-0CA8B2891F56}" dt="2025-02-05T05:07:49.378" v="539" actId="478"/>
          <ac:spMkLst>
            <pc:docMk/>
            <pc:sldMk cId="546388840" sldId="277"/>
            <ac:spMk id="4" creationId="{1A11BF8F-18BB-0B1D-0965-CCB73B6DF612}"/>
          </ac:spMkLst>
        </pc:spChg>
        <pc:spChg chg="add mod">
          <ac:chgData name="栗田 理沙" userId="eba0e80e-ed90-4c0e-9448-e4c83d04c86b" providerId="ADAL" clId="{04590368-CF6E-44E3-8AFB-0CA8B2891F56}" dt="2025-02-06T04:17:42.144" v="1300"/>
          <ac:spMkLst>
            <pc:docMk/>
            <pc:sldMk cId="546388840" sldId="277"/>
            <ac:spMk id="4" creationId="{535A8C28-34FB-FE3D-8BEC-54667F3460C7}"/>
          </ac:spMkLst>
        </pc:spChg>
        <pc:spChg chg="del">
          <ac:chgData name="栗田 理沙" userId="eba0e80e-ed90-4c0e-9448-e4c83d04c86b" providerId="ADAL" clId="{04590368-CF6E-44E3-8AFB-0CA8B2891F56}" dt="2025-02-06T04:17:41.596" v="1299" actId="478"/>
          <ac:spMkLst>
            <pc:docMk/>
            <pc:sldMk cId="546388840" sldId="277"/>
            <ac:spMk id="7" creationId="{0B366313-50AE-5A25-067C-1ACE7D85FA6F}"/>
          </ac:spMkLst>
        </pc:spChg>
        <pc:spChg chg="add mod">
          <ac:chgData name="栗田 理沙" userId="eba0e80e-ed90-4c0e-9448-e4c83d04c86b" providerId="ADAL" clId="{04590368-CF6E-44E3-8AFB-0CA8B2891F56}" dt="2025-02-05T05:07:49.802" v="540"/>
          <ac:spMkLst>
            <pc:docMk/>
            <pc:sldMk cId="546388840" sldId="277"/>
            <ac:spMk id="9" creationId="{C2EAFF45-4E50-8355-358A-4F0B1E2D3A79}"/>
          </ac:spMkLst>
        </pc:spChg>
        <pc:spChg chg="mod">
          <ac:chgData name="栗田 理沙" userId="eba0e80e-ed90-4c0e-9448-e4c83d04c86b" providerId="ADAL" clId="{04590368-CF6E-44E3-8AFB-0CA8B2891F56}" dt="2025-02-05T05:02:04.614" v="449" actId="207"/>
          <ac:spMkLst>
            <pc:docMk/>
            <pc:sldMk cId="546388840" sldId="277"/>
            <ac:spMk id="14" creationId="{04FAE4B4-1865-5675-4BA8-12721219DB08}"/>
          </ac:spMkLst>
        </pc:spChg>
        <pc:spChg chg="mod">
          <ac:chgData name="栗田 理沙" userId="eba0e80e-ed90-4c0e-9448-e4c83d04c86b" providerId="ADAL" clId="{04590368-CF6E-44E3-8AFB-0CA8B2891F56}" dt="2025-02-05T05:08:17.682" v="541" actId="20577"/>
          <ac:spMkLst>
            <pc:docMk/>
            <pc:sldMk cId="546388840" sldId="277"/>
            <ac:spMk id="15" creationId="{B3A0A051-96EF-CE21-B519-0BA5DB70091E}"/>
          </ac:spMkLst>
        </pc:spChg>
        <pc:spChg chg="del">
          <ac:chgData name="栗田 理沙" userId="eba0e80e-ed90-4c0e-9448-e4c83d04c86b" providerId="ADAL" clId="{04590368-CF6E-44E3-8AFB-0CA8B2891F56}" dt="2025-02-03T07:51:12.176" v="25" actId="478"/>
          <ac:spMkLst>
            <pc:docMk/>
            <pc:sldMk cId="546388840" sldId="277"/>
            <ac:spMk id="16" creationId="{C113F4D4-85E6-1EA0-838D-C457A90A5E12}"/>
          </ac:spMkLst>
        </pc:spChg>
        <pc:graphicFrameChg chg="add del mod modGraphic">
          <ac:chgData name="栗田 理沙" userId="eba0e80e-ed90-4c0e-9448-e4c83d04c86b" providerId="ADAL" clId="{04590368-CF6E-44E3-8AFB-0CA8B2891F56}" dt="2025-02-05T05:02:29.288" v="451" actId="478"/>
          <ac:graphicFrameMkLst>
            <pc:docMk/>
            <pc:sldMk cId="546388840" sldId="277"/>
            <ac:graphicFrameMk id="8" creationId="{C2BD7E66-5504-F3D6-9B6D-E08AE32D44DE}"/>
          </ac:graphicFrameMkLst>
        </pc:graphicFrameChg>
      </pc:sldChg>
      <pc:sldChg chg="addSp delSp modSp mod ord">
        <pc:chgData name="栗田 理沙" userId="eba0e80e-ed90-4c0e-9448-e4c83d04c86b" providerId="ADAL" clId="{04590368-CF6E-44E3-8AFB-0CA8B2891F56}" dt="2025-02-06T04:17:35.303" v="1296"/>
        <pc:sldMkLst>
          <pc:docMk/>
          <pc:sldMk cId="645106282" sldId="278"/>
        </pc:sldMkLst>
        <pc:spChg chg="mod">
          <ac:chgData name="栗田 理沙" userId="eba0e80e-ed90-4c0e-9448-e4c83d04c86b" providerId="ADAL" clId="{04590368-CF6E-44E3-8AFB-0CA8B2891F56}" dt="2025-02-05T05:08:39.276" v="570" actId="1035"/>
          <ac:spMkLst>
            <pc:docMk/>
            <pc:sldMk cId="645106282" sldId="278"/>
            <ac:spMk id="3" creationId="{F7E2CEAB-BE04-A3AE-520E-FDB43A0D1173}"/>
          </ac:spMkLst>
        </pc:spChg>
        <pc:spChg chg="add del mod">
          <ac:chgData name="栗田 理沙" userId="eba0e80e-ed90-4c0e-9448-e4c83d04c86b" providerId="ADAL" clId="{04590368-CF6E-44E3-8AFB-0CA8B2891F56}" dt="2025-02-05T05:07:42.425" v="535" actId="478"/>
          <ac:spMkLst>
            <pc:docMk/>
            <pc:sldMk cId="645106282" sldId="278"/>
            <ac:spMk id="7" creationId="{59673BFE-A2AE-84E2-EC4C-2CDC481EA08F}"/>
          </ac:spMkLst>
        </pc:spChg>
        <pc:spChg chg="add mod">
          <ac:chgData name="栗田 理沙" userId="eba0e80e-ed90-4c0e-9448-e4c83d04c86b" providerId="ADAL" clId="{04590368-CF6E-44E3-8AFB-0CA8B2891F56}" dt="2025-02-06T04:17:35.303" v="1296"/>
          <ac:spMkLst>
            <pc:docMk/>
            <pc:sldMk cId="645106282" sldId="278"/>
            <ac:spMk id="7" creationId="{F0D8C33D-1732-A30E-8F73-D3F7B10AAB1D}"/>
          </ac:spMkLst>
        </pc:spChg>
        <pc:spChg chg="add mod">
          <ac:chgData name="栗田 理沙" userId="eba0e80e-ed90-4c0e-9448-e4c83d04c86b" providerId="ADAL" clId="{04590368-CF6E-44E3-8AFB-0CA8B2891F56}" dt="2025-02-05T05:07:42.760" v="536"/>
          <ac:spMkLst>
            <pc:docMk/>
            <pc:sldMk cId="645106282" sldId="278"/>
            <ac:spMk id="8" creationId="{7F20B46F-FEC5-B4F9-F436-7382C02B2BB8}"/>
          </ac:spMkLst>
        </pc:spChg>
        <pc:spChg chg="del">
          <ac:chgData name="栗田 理沙" userId="eba0e80e-ed90-4c0e-9448-e4c83d04c86b" providerId="ADAL" clId="{04590368-CF6E-44E3-8AFB-0CA8B2891F56}" dt="2025-02-03T07:51:15.233" v="27" actId="478"/>
          <ac:spMkLst>
            <pc:docMk/>
            <pc:sldMk cId="645106282" sldId="278"/>
            <ac:spMk id="8" creationId="{DDECE599-53A9-80A3-C930-92671FC9E2C4}"/>
          </ac:spMkLst>
        </pc:spChg>
        <pc:spChg chg="del">
          <ac:chgData name="栗田 理沙" userId="eba0e80e-ed90-4c0e-9448-e4c83d04c86b" providerId="ADAL" clId="{04590368-CF6E-44E3-8AFB-0CA8B2891F56}" dt="2025-02-06T04:17:34.832" v="1295" actId="478"/>
          <ac:spMkLst>
            <pc:docMk/>
            <pc:sldMk cId="645106282" sldId="278"/>
            <ac:spMk id="9" creationId="{20D1D1B9-FFCE-E809-3E5F-348187FA0F9C}"/>
          </ac:spMkLst>
        </pc:spChg>
        <pc:spChg chg="add mod">
          <ac:chgData name="栗田 理沙" userId="eba0e80e-ed90-4c0e-9448-e4c83d04c86b" providerId="ADAL" clId="{04590368-CF6E-44E3-8AFB-0CA8B2891F56}" dt="2025-02-05T05:08:35.164" v="548"/>
          <ac:spMkLst>
            <pc:docMk/>
            <pc:sldMk cId="645106282" sldId="278"/>
            <ac:spMk id="10" creationId="{1EDB9A98-66A7-A369-AAAC-22139AD63B72}"/>
          </ac:spMkLst>
        </pc:spChg>
        <pc:spChg chg="mod">
          <ac:chgData name="栗田 理沙" userId="eba0e80e-ed90-4c0e-9448-e4c83d04c86b" providerId="ADAL" clId="{04590368-CF6E-44E3-8AFB-0CA8B2891F56}" dt="2025-02-05T04:59:56.110" v="418" actId="3064"/>
          <ac:spMkLst>
            <pc:docMk/>
            <pc:sldMk cId="645106282" sldId="278"/>
            <ac:spMk id="54" creationId="{8270898E-8DE6-732E-545F-15ACD3F67F6C}"/>
          </ac:spMkLst>
        </pc:spChg>
        <pc:spChg chg="mod">
          <ac:chgData name="栗田 理沙" userId="eba0e80e-ed90-4c0e-9448-e4c83d04c86b" providerId="ADAL" clId="{04590368-CF6E-44E3-8AFB-0CA8B2891F56}" dt="2025-02-05T05:00:09.960" v="419"/>
          <ac:spMkLst>
            <pc:docMk/>
            <pc:sldMk cId="645106282" sldId="278"/>
            <ac:spMk id="55" creationId="{D2FAD329-26AD-293E-6AEF-4F6057BF7DD5}"/>
          </ac:spMkLst>
        </pc:spChg>
      </pc:sldChg>
      <pc:sldChg chg="addSp delSp modSp mod">
        <pc:chgData name="栗田 理沙" userId="eba0e80e-ed90-4c0e-9448-e4c83d04c86b" providerId="ADAL" clId="{04590368-CF6E-44E3-8AFB-0CA8B2891F56}" dt="2025-02-06T04:11:14.098" v="1267" actId="1076"/>
        <pc:sldMkLst>
          <pc:docMk/>
          <pc:sldMk cId="308269083" sldId="280"/>
        </pc:sldMkLst>
        <pc:spChg chg="mod">
          <ac:chgData name="栗田 理沙" userId="eba0e80e-ed90-4c0e-9448-e4c83d04c86b" providerId="ADAL" clId="{04590368-CF6E-44E3-8AFB-0CA8B2891F56}" dt="2025-02-05T04:16:59.826" v="75" actId="20577"/>
          <ac:spMkLst>
            <pc:docMk/>
            <pc:sldMk cId="308269083" sldId="280"/>
            <ac:spMk id="3" creationId="{64668CCC-D07F-314B-1DBD-4CD9BF2D6906}"/>
          </ac:spMkLst>
        </pc:spChg>
        <pc:spChg chg="mod">
          <ac:chgData name="栗田 理沙" userId="eba0e80e-ed90-4c0e-9448-e4c83d04c86b" providerId="ADAL" clId="{04590368-CF6E-44E3-8AFB-0CA8B2891F56}" dt="2025-02-05T04:16:27.327" v="54" actId="20577"/>
          <ac:spMkLst>
            <pc:docMk/>
            <pc:sldMk cId="308269083" sldId="280"/>
            <ac:spMk id="4" creationId="{26DF6368-687C-0056-2916-FB60191EE32C}"/>
          </ac:spMkLst>
        </pc:spChg>
        <pc:spChg chg="mod">
          <ac:chgData name="栗田 理沙" userId="eba0e80e-ed90-4c0e-9448-e4c83d04c86b" providerId="ADAL" clId="{04590368-CF6E-44E3-8AFB-0CA8B2891F56}" dt="2025-02-05T04:17:03.268" v="76"/>
          <ac:spMkLst>
            <pc:docMk/>
            <pc:sldMk cId="308269083" sldId="280"/>
            <ac:spMk id="5" creationId="{7E4A52F3-3DA2-5D44-E3BD-B902F87E0163}"/>
          </ac:spMkLst>
        </pc:spChg>
        <pc:spChg chg="add mod">
          <ac:chgData name="栗田 理沙" userId="eba0e80e-ed90-4c0e-9448-e4c83d04c86b" providerId="ADAL" clId="{04590368-CF6E-44E3-8AFB-0CA8B2891F56}" dt="2025-02-06T04:11:11.718" v="1266" actId="1076"/>
          <ac:spMkLst>
            <pc:docMk/>
            <pc:sldMk cId="308269083" sldId="280"/>
            <ac:spMk id="6" creationId="{F5C6CC77-878A-5EC6-1ADD-7A77CB42269A}"/>
          </ac:spMkLst>
        </pc:spChg>
        <pc:spChg chg="mod">
          <ac:chgData name="栗田 理沙" userId="eba0e80e-ed90-4c0e-9448-e4c83d04c86b" providerId="ADAL" clId="{04590368-CF6E-44E3-8AFB-0CA8B2891F56}" dt="2025-02-05T04:16:47.111" v="73" actId="20577"/>
          <ac:spMkLst>
            <pc:docMk/>
            <pc:sldMk cId="308269083" sldId="280"/>
            <ac:spMk id="7" creationId="{B59A738D-1F41-0283-0531-8D18030986DF}"/>
          </ac:spMkLst>
        </pc:spChg>
        <pc:spChg chg="add del">
          <ac:chgData name="栗田 理沙" userId="eba0e80e-ed90-4c0e-9448-e4c83d04c86b" providerId="ADAL" clId="{04590368-CF6E-44E3-8AFB-0CA8B2891F56}" dt="2025-02-05T04:16:13.101" v="37" actId="22"/>
          <ac:spMkLst>
            <pc:docMk/>
            <pc:sldMk cId="308269083" sldId="280"/>
            <ac:spMk id="8" creationId="{DB6C2799-AA55-252F-7840-42F24127FE53}"/>
          </ac:spMkLst>
        </pc:spChg>
        <pc:spChg chg="mod">
          <ac:chgData name="栗田 理沙" userId="eba0e80e-ed90-4c0e-9448-e4c83d04c86b" providerId="ADAL" clId="{04590368-CF6E-44E3-8AFB-0CA8B2891F56}" dt="2025-02-05T05:07:24.467" v="526" actId="13926"/>
          <ac:spMkLst>
            <pc:docMk/>
            <pc:sldMk cId="308269083" sldId="280"/>
            <ac:spMk id="12" creationId="{154190D6-EBE4-3FC8-C3E5-1C5CF9C50E3E}"/>
          </ac:spMkLst>
        </pc:spChg>
        <pc:spChg chg="mod">
          <ac:chgData name="栗田 理沙" userId="eba0e80e-ed90-4c0e-9448-e4c83d04c86b" providerId="ADAL" clId="{04590368-CF6E-44E3-8AFB-0CA8B2891F56}" dt="2025-02-05T05:23:49.556" v="597" actId="14100"/>
          <ac:spMkLst>
            <pc:docMk/>
            <pc:sldMk cId="308269083" sldId="280"/>
            <ac:spMk id="16" creationId="{B8E09D0D-5535-968A-7580-0C62CDF9D579}"/>
          </ac:spMkLst>
        </pc:spChg>
        <pc:spChg chg="mod">
          <ac:chgData name="栗田 理沙" userId="eba0e80e-ed90-4c0e-9448-e4c83d04c86b" providerId="ADAL" clId="{04590368-CF6E-44E3-8AFB-0CA8B2891F56}" dt="2025-02-06T04:11:14.098" v="1267" actId="1076"/>
          <ac:spMkLst>
            <pc:docMk/>
            <pc:sldMk cId="308269083" sldId="280"/>
            <ac:spMk id="17" creationId="{F8645304-CE53-2E8F-8FC3-57B09B268C28}"/>
          </ac:spMkLst>
        </pc:spChg>
        <pc:spChg chg="mod">
          <ac:chgData name="栗田 理沙" userId="eba0e80e-ed90-4c0e-9448-e4c83d04c86b" providerId="ADAL" clId="{04590368-CF6E-44E3-8AFB-0CA8B2891F56}" dt="2025-02-06T04:09:21.219" v="1216" actId="20578"/>
          <ac:spMkLst>
            <pc:docMk/>
            <pc:sldMk cId="308269083" sldId="280"/>
            <ac:spMk id="19" creationId="{ECC6BDDA-908F-5CA8-E339-604658B46850}"/>
          </ac:spMkLst>
        </pc:spChg>
        <pc:spChg chg="mod">
          <ac:chgData name="栗田 理沙" userId="eba0e80e-ed90-4c0e-9448-e4c83d04c86b" providerId="ADAL" clId="{04590368-CF6E-44E3-8AFB-0CA8B2891F56}" dt="2025-02-06T04:08:45.979" v="1202" actId="20578"/>
          <ac:spMkLst>
            <pc:docMk/>
            <pc:sldMk cId="308269083" sldId="280"/>
            <ac:spMk id="20" creationId="{EEFD26E9-CAD2-80C4-E43F-C9A78F193DC8}"/>
          </ac:spMkLst>
        </pc:spChg>
        <pc:spChg chg="mod">
          <ac:chgData name="栗田 理沙" userId="eba0e80e-ed90-4c0e-9448-e4c83d04c86b" providerId="ADAL" clId="{04590368-CF6E-44E3-8AFB-0CA8B2891F56}" dt="2025-02-06T04:09:07.417" v="1215" actId="20577"/>
          <ac:spMkLst>
            <pc:docMk/>
            <pc:sldMk cId="308269083" sldId="280"/>
            <ac:spMk id="21" creationId="{1DF82616-348D-C35D-3287-CE441D69FEAD}"/>
          </ac:spMkLst>
        </pc:spChg>
        <pc:spChg chg="mod">
          <ac:chgData name="栗田 理沙" userId="eba0e80e-ed90-4c0e-9448-e4c83d04c86b" providerId="ADAL" clId="{04590368-CF6E-44E3-8AFB-0CA8B2891F56}" dt="2025-02-05T04:25:55.631" v="164" actId="20577"/>
          <ac:spMkLst>
            <pc:docMk/>
            <pc:sldMk cId="308269083" sldId="280"/>
            <ac:spMk id="26" creationId="{C9D2C943-A440-AF2E-41EF-A70AB7B6DEFD}"/>
          </ac:spMkLst>
        </pc:spChg>
        <pc:spChg chg="mod">
          <ac:chgData name="栗田 理沙" userId="eba0e80e-ed90-4c0e-9448-e4c83d04c86b" providerId="ADAL" clId="{04590368-CF6E-44E3-8AFB-0CA8B2891F56}" dt="2025-02-05T05:34:28.865" v="1044" actId="207"/>
          <ac:spMkLst>
            <pc:docMk/>
            <pc:sldMk cId="308269083" sldId="280"/>
            <ac:spMk id="31" creationId="{8E39AF90-FF9D-B535-BC3E-EAA6C5CDC147}"/>
          </ac:spMkLst>
        </pc:spChg>
        <pc:spChg chg="mod">
          <ac:chgData name="栗田 理沙" userId="eba0e80e-ed90-4c0e-9448-e4c83d04c86b" providerId="ADAL" clId="{04590368-CF6E-44E3-8AFB-0CA8B2891F56}" dt="2025-02-05T05:32:22.399" v="886" actId="20577"/>
          <ac:spMkLst>
            <pc:docMk/>
            <pc:sldMk cId="308269083" sldId="280"/>
            <ac:spMk id="32" creationId="{44A23ECC-6C4F-5D85-CC66-2F0C43F89002}"/>
          </ac:spMkLst>
        </pc:spChg>
        <pc:spChg chg="mod">
          <ac:chgData name="栗田 理沙" userId="eba0e80e-ed90-4c0e-9448-e4c83d04c86b" providerId="ADAL" clId="{04590368-CF6E-44E3-8AFB-0CA8B2891F56}" dt="2025-02-05T04:25:02.583" v="149" actId="20577"/>
          <ac:spMkLst>
            <pc:docMk/>
            <pc:sldMk cId="308269083" sldId="280"/>
            <ac:spMk id="33" creationId="{DA5CFE94-E10B-F128-25A7-513B0888F3EB}"/>
          </ac:spMkLst>
        </pc:spChg>
        <pc:spChg chg="mod">
          <ac:chgData name="栗田 理沙" userId="eba0e80e-ed90-4c0e-9448-e4c83d04c86b" providerId="ADAL" clId="{04590368-CF6E-44E3-8AFB-0CA8B2891F56}" dt="2025-02-06T04:06:49.311" v="1146" actId="1076"/>
          <ac:spMkLst>
            <pc:docMk/>
            <pc:sldMk cId="308269083" sldId="280"/>
            <ac:spMk id="36" creationId="{82E076A6-A930-A7A1-3F98-4958A5B35871}"/>
          </ac:spMkLst>
        </pc:spChg>
      </pc:sldChg>
      <pc:sldChg chg="addSp delSp modSp mod">
        <pc:chgData name="栗田 理沙" userId="eba0e80e-ed90-4c0e-9448-e4c83d04c86b" providerId="ADAL" clId="{04590368-CF6E-44E3-8AFB-0CA8B2891F56}" dt="2025-02-05T05:07:33.131" v="530"/>
        <pc:sldMkLst>
          <pc:docMk/>
          <pc:sldMk cId="172618148" sldId="281"/>
        </pc:sldMkLst>
        <pc:spChg chg="add del mod">
          <ac:chgData name="栗田 理沙" userId="eba0e80e-ed90-4c0e-9448-e4c83d04c86b" providerId="ADAL" clId="{04590368-CF6E-44E3-8AFB-0CA8B2891F56}" dt="2025-02-05T05:07:32.685" v="529" actId="478"/>
          <ac:spMkLst>
            <pc:docMk/>
            <pc:sldMk cId="172618148" sldId="281"/>
            <ac:spMk id="6" creationId="{ED30A978-06D4-4C5E-50C6-DB3CB2F658E3}"/>
          </ac:spMkLst>
        </pc:spChg>
        <pc:spChg chg="add mod">
          <ac:chgData name="栗田 理沙" userId="eba0e80e-ed90-4c0e-9448-e4c83d04c86b" providerId="ADAL" clId="{04590368-CF6E-44E3-8AFB-0CA8B2891F56}" dt="2025-02-05T05:07:33.131" v="530"/>
          <ac:spMkLst>
            <pc:docMk/>
            <pc:sldMk cId="172618148" sldId="281"/>
            <ac:spMk id="7" creationId="{93135752-CA83-AAA3-C6CF-A94D1EC14638}"/>
          </ac:spMkLst>
        </pc:spChg>
        <pc:spChg chg="del">
          <ac:chgData name="栗田 理沙" userId="eba0e80e-ed90-4c0e-9448-e4c83d04c86b" providerId="ADAL" clId="{04590368-CF6E-44E3-8AFB-0CA8B2891F56}" dt="2025-02-03T07:50:59.222" v="19" actId="478"/>
          <ac:spMkLst>
            <pc:docMk/>
            <pc:sldMk cId="172618148" sldId="281"/>
            <ac:spMk id="20" creationId="{442F4C6B-7C9C-A25F-5EA0-8273017F55DF}"/>
          </ac:spMkLst>
        </pc:spChg>
      </pc:sldChg>
      <pc:sldChg chg="modSp add del mod">
        <pc:chgData name="栗田 理沙" userId="eba0e80e-ed90-4c0e-9448-e4c83d04c86b" providerId="ADAL" clId="{04590368-CF6E-44E3-8AFB-0CA8B2891F56}" dt="2025-02-05T05:03:04.162" v="452" actId="47"/>
        <pc:sldMkLst>
          <pc:docMk/>
          <pc:sldMk cId="2736939717" sldId="282"/>
        </pc:sldMkLst>
        <pc:spChg chg="mod">
          <ac:chgData name="栗田 理沙" userId="eba0e80e-ed90-4c0e-9448-e4c83d04c86b" providerId="ADAL" clId="{04590368-CF6E-44E3-8AFB-0CA8B2891F56}" dt="2025-02-05T04:49:34.293" v="220"/>
          <ac:spMkLst>
            <pc:docMk/>
            <pc:sldMk cId="2736939717" sldId="282"/>
            <ac:spMk id="19" creationId="{ECC6BDDA-908F-5CA8-E339-604658B46850}"/>
          </ac:spMkLst>
        </pc:spChg>
        <pc:spChg chg="mod">
          <ac:chgData name="栗田 理沙" userId="eba0e80e-ed90-4c0e-9448-e4c83d04c86b" providerId="ADAL" clId="{04590368-CF6E-44E3-8AFB-0CA8B2891F56}" dt="2025-02-05T04:46:12.348" v="184" actId="20578"/>
          <ac:spMkLst>
            <pc:docMk/>
            <pc:sldMk cId="2736939717" sldId="282"/>
            <ac:spMk id="20" creationId="{EEFD26E9-CAD2-80C4-E43F-C9A78F193DC8}"/>
          </ac:spMkLst>
        </pc:spChg>
      </pc:sldChg>
    </pc:docChg>
  </pc:docChgLst>
</pc:chgInfo>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00"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1101" name="日付プレースホルダー 2"/>
          <p:cNvSpPr>
            <a:spLocks noGrp="1"/>
          </p:cNvSpPr>
          <p:nvPr>
            <p:ph type="dt" idx="1"/>
          </p:nvPr>
        </p:nvSpPr>
        <p:spPr>
          <a:xfrm>
            <a:off x="3815374" y="0"/>
            <a:ext cx="2918831" cy="493316"/>
          </a:xfrm>
          <a:prstGeom prst="rect">
            <a:avLst/>
          </a:prstGeom>
        </p:spPr>
        <p:txBody>
          <a:bodyPr vert="horz" lIns="91440" tIns="45720" rIns="91440" bIns="45720" rtlCol="0"/>
          <a:lstStyle>
            <a:lvl1pPr algn="r">
              <a:defRPr sz="1200"/>
            </a:lvl1pPr>
          </a:lstStyle>
          <a:p>
            <a:fld id="{46D06EA9-14B5-4F31-95CC-6AD91D20700D}" type="datetimeFigureOut">
              <a:rPr kumimoji="1" lang="ja-JP" altLang="en-US" smtClean="0"/>
              <a:t>2026/2/9</a:t>
            </a:fld>
            <a:endParaRPr kumimoji="1" lang="ja-JP" altLang="en-US"/>
          </a:p>
        </p:txBody>
      </p:sp>
      <p:sp>
        <p:nvSpPr>
          <p:cNvPr id="1102"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40" tIns="45720" rIns="91440" bIns="45720" rtlCol="0" anchor="ctr"/>
          <a:lstStyle/>
          <a:p>
            <a:endParaRPr lang="ja-JP" altLang="en-US"/>
          </a:p>
        </p:txBody>
      </p:sp>
      <p:sp>
        <p:nvSpPr>
          <p:cNvPr id="1103" name="ノート プレースホルダー 4"/>
          <p:cNvSpPr>
            <a:spLocks noGrp="1"/>
          </p:cNvSpPr>
          <p:nvPr>
            <p:ph type="body" sz="quarter" idx="3"/>
          </p:nvPr>
        </p:nvSpPr>
        <p:spPr>
          <a:xfrm>
            <a:off x="673576" y="4686499"/>
            <a:ext cx="5388610" cy="443984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04" name="フッター プレースホルダー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1105" name="スライド番号プレースホルダー 6"/>
          <p:cNvSpPr>
            <a:spLocks noGrp="1"/>
          </p:cNvSpPr>
          <p:nvPr>
            <p:ph type="sldNum" sz="quarter" idx="5"/>
          </p:nvPr>
        </p:nvSpPr>
        <p:spPr>
          <a:xfrm>
            <a:off x="3815374" y="9371285"/>
            <a:ext cx="2918831" cy="493316"/>
          </a:xfrm>
          <a:prstGeom prst="rect">
            <a:avLst/>
          </a:prstGeom>
        </p:spPr>
        <p:txBody>
          <a:bodyPr vert="horz" lIns="91440" tIns="45720" rIns="91440" bIns="45720" rtlCol="0" anchor="b"/>
          <a:lstStyle>
            <a:lvl1pPr algn="r">
              <a:defRPr sz="1200"/>
            </a:lvl1pPr>
          </a:lstStyle>
          <a:p>
            <a:fld id="{58807EA6-0398-4990-8029-A74DB7412258}"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0" name="スライド イメージ プレースホルダ 1"/>
          <p:cNvSpPr>
            <a:spLocks noGrp="1" noRot="1" noChangeAspect="1"/>
          </p:cNvSpPr>
          <p:nvPr>
            <p:ph type="sldImg"/>
          </p:nvPr>
        </p:nvSpPr>
        <p:spPr>
          <a:xfrm>
            <a:off x="5440363" y="360363"/>
            <a:ext cx="2587625" cy="1792287"/>
          </a:xfrm>
        </p:spPr>
      </p:sp>
      <p:sp>
        <p:nvSpPr>
          <p:cNvPr id="10351" name="ノート プレースホルダ 2"/>
          <p:cNvSpPr>
            <a:spLocks noGrp="1"/>
          </p:cNvSpPr>
          <p:nvPr>
            <p:ph type="body" idx="1"/>
          </p:nvPr>
        </p:nvSpPr>
        <p:spPr/>
        <p:txBody>
          <a:bodyPr>
            <a:normAutofit/>
          </a:bodyPr>
          <a:lstStyle/>
          <a:p>
            <a:pPr defTabSz="948570">
              <a:defRPr/>
            </a:pPr>
            <a:endParaRPr kumimoji="1" lang="ja-JP" altLang="en-US" dirty="0"/>
          </a:p>
        </p:txBody>
      </p:sp>
      <p:sp>
        <p:nvSpPr>
          <p:cNvPr id="10352" name="スライド番号プレースホル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47A257-4C07-4AB6-BC31-F377782D84F4}" type="slidenum">
              <a:rPr kumimoji="1" lang="ja-JP" altLang="en-US" sz="1200" b="0" i="0" u="none" strike="noStrike" kern="1200" cap="none" spc="0" normalizeH="0" baseline="0" noProof="0" smtClean="0">
                <a:ln>
                  <a:noFill/>
                </a:ln>
                <a:solidFill>
                  <a:prstClr val="black"/>
                </a:solidFill>
                <a:effectLst/>
                <a:uLnTx/>
                <a:uFillTx/>
                <a:latin typeface="游ゴシック"/>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a:ln>
                <a:noFill/>
              </a:ln>
              <a:solidFill>
                <a:prstClr val="black"/>
              </a:solidFill>
              <a:effectLst/>
              <a:uLnTx/>
              <a:uFillTx/>
              <a:latin typeface="游ゴシック"/>
              <a:ea typeface="游ゴシック" panose="020B0400000000000000" pitchFamily="50" charset="-128"/>
              <a:cs typeface="+mn-cs"/>
            </a:endParaRPr>
          </a:p>
        </p:txBody>
      </p:sp>
    </p:spTree>
    <p:extLst>
      <p:ext uri="{BB962C8B-B14F-4D97-AF65-F5344CB8AC3E}">
        <p14:creationId xmlns:p14="http://schemas.microsoft.com/office/powerpoint/2010/main" val="2353721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021185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602838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702590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528763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979576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826964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267317194"/>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tags/tag1.xml" Type="http://schemas.openxmlformats.org/officeDocument/2006/relationships/tags"/><Relationship Id="rId2" Target="../slideMasters/slideMaster2.xml" Type="http://schemas.openxmlformats.org/officeDocument/2006/relationships/slideMaster"/><Relationship Id="rId3" Target="../embeddings/oleObject1.bin" Type="http://schemas.openxmlformats.org/officeDocument/2006/relationships/oleObject"/><Relationship Id="rId4" Target="../media/image4.emf"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1037" name="Picture 20" descr="ppjtitle"/>
          <p:cNvPicPr>
            <a:picLocks noChangeAspect="1" noChangeArrowheads="1"/>
          </p:cNvPicPr>
          <p:nvPr/>
        </p:nvPicPr>
        <p:blipFill>
          <a:blip r:embed="rId2"/>
          <a:stretch>
            <a:fillRect/>
          </a:stretch>
        </p:blipFill>
        <p:spPr>
          <a:xfrm>
            <a:off x="0" y="6076950"/>
            <a:ext cx="9921875" cy="781050"/>
          </a:xfrm>
          <a:prstGeom prst="rect">
            <a:avLst/>
          </a:prstGeom>
          <a:noFill/>
          <a:ln w="9525">
            <a:noFill/>
            <a:miter lim="800000"/>
            <a:headEnd/>
            <a:tailEnd/>
          </a:ln>
        </p:spPr>
      </p:pic>
      <p:sp>
        <p:nvSpPr>
          <p:cNvPr id="1038" name="Rectangle 14"/>
          <p:cNvSpPr>
            <a:spLocks noChangeArrowheads="1"/>
          </p:cNvSpPr>
          <p:nvPr/>
        </p:nvSpPr>
        <p:spPr>
          <a:xfrm>
            <a:off x="1833563" y="3284544"/>
            <a:ext cx="8072437" cy="73025"/>
          </a:xfrm>
          <a:prstGeom prst="rect">
            <a:avLst/>
          </a:prstGeom>
          <a:solidFill>
            <a:srgbClr val="FF0000"/>
          </a:solidFill>
          <a:ln w="9525">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9" name="Rectangle 3"/>
          <p:cNvSpPr>
            <a:spLocks noGrp="1" noChangeArrowheads="1"/>
          </p:cNvSpPr>
          <p:nvPr>
            <p:ph type="ctrTitle"/>
          </p:nvPr>
        </p:nvSpPr>
        <p:spPr>
          <a:xfrm>
            <a:off x="1784350" y="2133606"/>
            <a:ext cx="8121650" cy="1470025"/>
          </a:xfrm>
        </p:spPr>
        <p:txBody>
          <a:bodyPr/>
          <a:lstStyle>
            <a:lvl1pPr>
              <a:defRPr sz="4000"/>
            </a:lvl1pPr>
          </a:lstStyle>
          <a:p>
            <a:r>
              <a:rPr lang="ja-JP" altLang="en-US"/>
              <a:t>マスター タイトルの書式設定</a:t>
            </a:r>
          </a:p>
        </p:txBody>
      </p:sp>
      <p:sp>
        <p:nvSpPr>
          <p:cNvPr id="1040"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マスター サブタイトルの書式設定</a:t>
            </a:r>
          </a:p>
        </p:txBody>
      </p:sp>
      <p:sp>
        <p:nvSpPr>
          <p:cNvPr id="1041" name="Rectangle 5"/>
          <p:cNvSpPr>
            <a:spLocks noGrp="1" noChangeArrowheads="1"/>
          </p:cNvSpPr>
          <p:nvPr>
            <p:ph type="dt" sz="half" idx="10"/>
          </p:nvPr>
        </p:nvSpPr>
        <p:spPr/>
        <p:txBody>
          <a:bodyPr/>
          <a:lstStyle>
            <a:lvl1pPr>
              <a:defRPr/>
            </a:lvl1pPr>
          </a:lstStyle>
          <a:p>
            <a:pPr fontAlgn="base">
              <a:spcBef>
                <a:spcPct val="0"/>
              </a:spcBef>
              <a:spcAft>
                <a:spcPct val="0"/>
              </a:spcAft>
              <a:defRPr/>
            </a:pPr>
            <a:endParaRPr lang="en-US" altLang="ja-JP"/>
          </a:p>
        </p:txBody>
      </p:sp>
      <p:sp>
        <p:nvSpPr>
          <p:cNvPr id="1042" name="Rectangle 6"/>
          <p:cNvSpPr>
            <a:spLocks noGrp="1" noChangeArrowheads="1"/>
          </p:cNvSpPr>
          <p:nvPr>
            <p:ph type="ftr" sz="quarter" idx="11"/>
          </p:nvPr>
        </p:nvSpPr>
        <p:spPr/>
        <p:txBody>
          <a:bodyPr/>
          <a:lstStyle>
            <a:lvl1pPr>
              <a:defRPr/>
            </a:lvl1pPr>
          </a:lstStyle>
          <a:p>
            <a:pPr fontAlgn="base">
              <a:spcBef>
                <a:spcPct val="0"/>
              </a:spcBef>
              <a:spcAft>
                <a:spcPct val="0"/>
              </a:spcAft>
              <a:defRPr/>
            </a:pPr>
            <a:endParaRPr lang="en-US" altLang="ja-JP"/>
          </a:p>
        </p:txBody>
      </p:sp>
      <p:sp>
        <p:nvSpPr>
          <p:cNvPr id="1043" name="Rectangle 7"/>
          <p:cNvSpPr>
            <a:spLocks noGrp="1" noChangeArrowheads="1"/>
          </p:cNvSpPr>
          <p:nvPr>
            <p:ph type="sldNum" sz="quarter" idx="12"/>
          </p:nvPr>
        </p:nvSpPr>
        <p:spPr>
          <a:xfrm>
            <a:off x="7099300" y="6245225"/>
            <a:ext cx="2311400" cy="476250"/>
          </a:xfrm>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3890049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96" name="タイトル 1"/>
          <p:cNvSpPr>
            <a:spLocks noGrp="1"/>
          </p:cNvSpPr>
          <p:nvPr>
            <p:ph type="title"/>
          </p:nvPr>
        </p:nvSpPr>
        <p:spPr/>
        <p:txBody>
          <a:bodyPr/>
          <a:lstStyle/>
          <a:p>
            <a:r>
              <a:rPr lang="ja-JP" altLang="en-US"/>
              <a:t>マスター タイトルの書式設定</a:t>
            </a:r>
          </a:p>
        </p:txBody>
      </p:sp>
      <p:sp>
        <p:nvSpPr>
          <p:cNvPr id="1097"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8"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99"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100"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42526129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102" name="縦書きタイトル 1"/>
          <p:cNvSpPr>
            <a:spLocks noGrp="1"/>
          </p:cNvSpPr>
          <p:nvPr>
            <p:ph type="title" orient="vert"/>
          </p:nvPr>
        </p:nvSpPr>
        <p:spPr>
          <a:xfrm>
            <a:off x="7058025" y="0"/>
            <a:ext cx="2352675" cy="6126163"/>
          </a:xfrm>
        </p:spPr>
        <p:txBody>
          <a:bodyPr vert="eaVert"/>
          <a:lstStyle/>
          <a:p>
            <a:r>
              <a:rPr lang="ja-JP" altLang="en-US"/>
              <a:t>マスター タイトルの書式設定</a:t>
            </a:r>
          </a:p>
        </p:txBody>
      </p:sp>
      <p:sp>
        <p:nvSpPr>
          <p:cNvPr id="1103" name="縦書きテキスト プレースホルダ 2"/>
          <p:cNvSpPr>
            <a:spLocks noGrp="1"/>
          </p:cNvSpPr>
          <p:nvPr>
            <p:ph type="body" orient="vert" idx="1"/>
          </p:nvPr>
        </p:nvSpPr>
        <p:spPr>
          <a:xfrm>
            <a:off x="4" y="0"/>
            <a:ext cx="6905625" cy="612616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4"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105"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106"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6308584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1108" name="コンテンツ プレースホルダ 1"/>
          <p:cNvSpPr>
            <a:spLocks noGrp="1"/>
          </p:cNvSpPr>
          <p:nvPr>
            <p:ph/>
          </p:nvPr>
        </p:nvSpPr>
        <p:spPr>
          <a:xfrm>
            <a:off x="0" y="0"/>
            <a:ext cx="9410700" cy="612616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9"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110"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111"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77559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セクション見出し">
    <p:spTree>
      <p:nvGrpSpPr>
        <p:cNvPr id="1" name=""/>
        <p:cNvGrpSpPr/>
        <p:nvPr/>
      </p:nvGrpSpPr>
      <p:grpSpPr>
        <a:xfrm>
          <a:off x="0" y="0"/>
          <a:ext cx="0" cy="0"/>
          <a:chOff x="0" y="0"/>
          <a:chExt cx="0" cy="0"/>
        </a:xfrm>
      </p:grpSpPr>
      <p:sp>
        <p:nvSpPr>
          <p:cNvPr id="1113" name="日付プレースホルダ 3"/>
          <p:cNvSpPr>
            <a:spLocks noGrp="1"/>
          </p:cNvSpPr>
          <p:nvPr>
            <p:ph type="dt" sz="half" idx="10"/>
          </p:nvPr>
        </p:nvSpPr>
        <p:spPr/>
        <p:txBody>
          <a:bodyPr/>
          <a:lstStyle/>
          <a:p>
            <a:pPr fontAlgn="base">
              <a:spcBef>
                <a:spcPct val="0"/>
              </a:spcBef>
              <a:spcAft>
                <a:spcPct val="0"/>
              </a:spcAft>
              <a:defRPr/>
            </a:pPr>
            <a:endParaRPr lang="en-US" altLang="ja-JP"/>
          </a:p>
        </p:txBody>
      </p:sp>
      <p:sp>
        <p:nvSpPr>
          <p:cNvPr id="1114" name="フッター プレースホルダ 4"/>
          <p:cNvSpPr>
            <a:spLocks noGrp="1"/>
          </p:cNvSpPr>
          <p:nvPr>
            <p:ph type="ftr" sz="quarter" idx="11"/>
          </p:nvPr>
        </p:nvSpPr>
        <p:spPr/>
        <p:txBody>
          <a:bodyPr/>
          <a:lstStyle/>
          <a:p>
            <a:pPr fontAlgn="base">
              <a:spcBef>
                <a:spcPct val="0"/>
              </a:spcBef>
              <a:spcAft>
                <a:spcPct val="0"/>
              </a:spcAft>
              <a:defRPr/>
            </a:pPr>
            <a:endParaRPr lang="en-US" altLang="ja-JP"/>
          </a:p>
        </p:txBody>
      </p:sp>
      <p:sp>
        <p:nvSpPr>
          <p:cNvPr id="1115" name="スライド番号プレースホルダ 5"/>
          <p:cNvSpPr>
            <a:spLocks noGrp="1"/>
          </p:cNvSpPr>
          <p:nvPr>
            <p:ph type="sldNum" sz="quarter" idx="12"/>
          </p:nvPr>
        </p:nvSpPr>
        <p:spPr/>
        <p:txBody>
          <a:body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cxnSp>
        <p:nvCxnSpPr>
          <p:cNvPr id="1116" name="直線コネクタ 6"/>
          <p:cNvCxnSpPr/>
          <p:nvPr/>
        </p:nvCxnSpPr>
        <p:spPr>
          <a:xfrm>
            <a:off x="0" y="607299"/>
            <a:ext cx="990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4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sp>
        <p:nvSpPr>
          <p:cNvPr id="1033" name="日付プレースホルダー 3"/>
          <p:cNvSpPr>
            <a:spLocks noGrp="1"/>
          </p:cNvSpPr>
          <p:nvPr>
            <p:ph type="dt" sz="half" idx="10"/>
          </p:nvPr>
        </p:nvSpPr>
        <p:spPr/>
        <p:txBody>
          <a:bodyPr/>
          <a:lstStyle/>
          <a:p>
            <a:endParaRPr kumimoji="1" lang="ja-JP" altLang="en-US"/>
          </a:p>
        </p:txBody>
      </p:sp>
      <p:sp>
        <p:nvSpPr>
          <p:cNvPr id="1034" name="フッター プレースホルダー 4"/>
          <p:cNvSpPr>
            <a:spLocks noGrp="1"/>
          </p:cNvSpPr>
          <p:nvPr>
            <p:ph type="ftr" sz="quarter" idx="11"/>
          </p:nvPr>
        </p:nvSpPr>
        <p:spPr/>
        <p:txBody>
          <a:bodyPr/>
          <a:lstStyle/>
          <a:p>
            <a:endParaRPr kumimoji="1" lang="ja-JP" altLang="en-US"/>
          </a:p>
        </p:txBody>
      </p:sp>
      <p:sp>
        <p:nvSpPr>
          <p:cNvPr id="1035" name="スライド番号プレースホルダー 5"/>
          <p:cNvSpPr>
            <a:spLocks noGrp="1"/>
          </p:cNvSpPr>
          <p:nvPr>
            <p:ph type="sldNum" sz="quarter" idx="12"/>
          </p:nvPr>
        </p:nvSpPr>
        <p:spPr/>
        <p:txBody>
          <a:bodyPr/>
          <a:lstStyle/>
          <a:p>
            <a:fld id="{EB5D65D9-31D7-4BAA-9731-87A52B1BA990}" type="slidenum">
              <a:rPr kumimoji="1" lang="ja-JP" altLang="en-US" smtClean="0"/>
              <a:t>‹#›</a:t>
            </a:fld>
            <a:endParaRPr kumimoji="1" lang="ja-JP" altLang="en-US"/>
          </a:p>
        </p:txBody>
      </p:sp>
    </p:spTree>
    <p:extLst>
      <p:ext uri="{BB962C8B-B14F-4D97-AF65-F5344CB8AC3E}">
        <p14:creationId xmlns:p14="http://schemas.microsoft.com/office/powerpoint/2010/main" val="36690230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19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a:xfrm>
            <a:off x="-5814" y="0"/>
            <a:ext cx="369721" cy="365125"/>
          </a:xfrm>
        </p:spPr>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7" y="1008000"/>
            <a:ext cx="4356000" cy="468000"/>
          </a:xfrm>
          <a:prstGeom prst="rect">
            <a:avLst/>
          </a:prstGeom>
        </p:spPr>
        <p:txBody>
          <a:bodyPr wrap="none" anchor="ctr">
            <a:noAutofit/>
          </a:bodyPr>
          <a:lstStyle>
            <a:lvl1pPr>
              <a:lnSpc>
                <a:spcPct val="100000"/>
              </a:lnSpc>
              <a:spcBef>
                <a:spcPts val="0"/>
              </a:spcBef>
              <a:defRPr sz="1137"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085665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5" name="タイトル 1"/>
          <p:cNvSpPr>
            <a:spLocks noGrp="1"/>
          </p:cNvSpPr>
          <p:nvPr>
            <p:ph type="title"/>
          </p:nvPr>
        </p:nvSpPr>
        <p:spPr/>
        <p:txBody>
          <a:bodyPr/>
          <a:lstStyle/>
          <a:p>
            <a:r>
              <a:rPr lang="ja-JP" altLang="en-US"/>
              <a:t>マスター タイトルの書式設定</a:t>
            </a:r>
          </a:p>
        </p:txBody>
      </p:sp>
      <p:sp>
        <p:nvSpPr>
          <p:cNvPr id="1046"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47"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48"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49" name="Rectangle 5"/>
          <p:cNvSpPr>
            <a:spLocks noGrp="1" noChangeArrowheads="1"/>
          </p:cNvSpPr>
          <p:nvPr>
            <p:ph type="sldNum" sz="quarter" idx="12"/>
          </p:nvPr>
        </p:nvSpPr>
        <p:spPr>
          <a:ln/>
        </p:spPr>
        <p:txBody>
          <a:bodyPr/>
          <a:lstStyle>
            <a:lvl1pPr>
              <a:defRPr/>
            </a:lvl1pPr>
          </a:lstStyle>
          <a:p>
            <a:pPr>
              <a:defRPr/>
            </a:pPr>
            <a:fld id="{58764233-5231-4BB3-864E-7369979C153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658907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51" name="タイトル 1"/>
          <p:cNvSpPr>
            <a:spLocks noGrp="1"/>
          </p:cNvSpPr>
          <p:nvPr>
            <p:ph type="title"/>
          </p:nvPr>
        </p:nvSpPr>
        <p:spPr>
          <a:xfrm>
            <a:off x="782638" y="4406906"/>
            <a:ext cx="8420100" cy="1362075"/>
          </a:xfrm>
        </p:spPr>
        <p:txBody>
          <a:bodyPr anchor="t"/>
          <a:lstStyle>
            <a:lvl1pPr algn="l">
              <a:defRPr sz="4000" b="1" cap="all"/>
            </a:lvl1pPr>
          </a:lstStyle>
          <a:p>
            <a:r>
              <a:rPr lang="ja-JP" altLang="en-US"/>
              <a:t>マスター タイトルの書式設定</a:t>
            </a:r>
          </a:p>
        </p:txBody>
      </p:sp>
      <p:sp>
        <p:nvSpPr>
          <p:cNvPr id="1052" name="テキスト プレースホルダ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1053"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54"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55" name="Rectangle 5"/>
          <p:cNvSpPr>
            <a:spLocks noGrp="1" noChangeArrowheads="1"/>
          </p:cNvSpPr>
          <p:nvPr>
            <p:ph type="sldNum" sz="quarter" idx="12"/>
          </p:nvPr>
        </p:nvSpPr>
        <p:spPr>
          <a:ln/>
        </p:spPr>
        <p:txBody>
          <a:bodyPr/>
          <a:lstStyle>
            <a:lvl1pPr>
              <a:defRPr/>
            </a:lvl1pPr>
          </a:lstStyle>
          <a:p>
            <a:pPr>
              <a:defRPr/>
            </a:pPr>
            <a:fld id="{DFEEB25D-4B7B-45DF-AF0B-DD05B66E5003}" type="slidenum">
              <a:rPr lang="en-US" altLang="ja-JP" smtClean="0"/>
              <a:pPr>
                <a:defRPr/>
              </a:pPr>
              <a:t>‹#›</a:t>
            </a:fld>
            <a:endParaRPr lang="en-US" altLang="ja-JP"/>
          </a:p>
        </p:txBody>
      </p:sp>
    </p:spTree>
    <p:extLst>
      <p:ext uri="{BB962C8B-B14F-4D97-AF65-F5344CB8AC3E}">
        <p14:creationId xmlns:p14="http://schemas.microsoft.com/office/powerpoint/2010/main" val="2946512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57" name="タイトル 1"/>
          <p:cNvSpPr>
            <a:spLocks noGrp="1"/>
          </p:cNvSpPr>
          <p:nvPr>
            <p:ph type="title"/>
          </p:nvPr>
        </p:nvSpPr>
        <p:spPr/>
        <p:txBody>
          <a:bodyPr/>
          <a:lstStyle/>
          <a:p>
            <a:r>
              <a:rPr lang="ja-JP" altLang="en-US"/>
              <a:t>マスター タイトルの書式設定</a:t>
            </a:r>
          </a:p>
        </p:txBody>
      </p:sp>
      <p:sp>
        <p:nvSpPr>
          <p:cNvPr id="1058" name="コンテンツ プレースホルダ 2"/>
          <p:cNvSpPr>
            <a:spLocks noGrp="1"/>
          </p:cNvSpPr>
          <p:nvPr>
            <p:ph sz="half" idx="1"/>
          </p:nvPr>
        </p:nvSpPr>
        <p:spPr>
          <a:xfrm>
            <a:off x="495302" y="1600204"/>
            <a:ext cx="43815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コンテンツ プレースホルダ 3"/>
          <p:cNvSpPr>
            <a:spLocks noGrp="1"/>
          </p:cNvSpPr>
          <p:nvPr>
            <p:ph sz="half" idx="2"/>
          </p:nvPr>
        </p:nvSpPr>
        <p:spPr>
          <a:xfrm>
            <a:off x="5029199" y="1600204"/>
            <a:ext cx="43815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0"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61"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62"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140630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64" name="タイトル 1"/>
          <p:cNvSpPr>
            <a:spLocks noGrp="1"/>
          </p:cNvSpPr>
          <p:nvPr>
            <p:ph type="title"/>
          </p:nvPr>
        </p:nvSpPr>
        <p:spPr>
          <a:xfrm>
            <a:off x="495300" y="274638"/>
            <a:ext cx="8915400" cy="1143000"/>
          </a:xfrm>
        </p:spPr>
        <p:txBody>
          <a:bodyPr/>
          <a:lstStyle>
            <a:lvl1pPr>
              <a:defRPr/>
            </a:lvl1pPr>
          </a:lstStyle>
          <a:p>
            <a:r>
              <a:rPr lang="ja-JP" altLang="en-US"/>
              <a:t>マスター タイトルの書式設定</a:t>
            </a:r>
          </a:p>
        </p:txBody>
      </p:sp>
      <p:sp>
        <p:nvSpPr>
          <p:cNvPr id="1065" name="テキスト プレースホルダ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1066" name="コンテンツ プレースホルダ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7" name="テキスト プレースホルダ 4"/>
          <p:cNvSpPr>
            <a:spLocks noGrp="1"/>
          </p:cNvSpPr>
          <p:nvPr>
            <p:ph type="body" sz="quarter" idx="3"/>
          </p:nvPr>
        </p:nvSpPr>
        <p:spPr>
          <a:xfrm>
            <a:off x="5032379"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1068" name="コンテンツ プレースホルダ 5"/>
          <p:cNvSpPr>
            <a:spLocks noGrp="1"/>
          </p:cNvSpPr>
          <p:nvPr>
            <p:ph sz="quarter" idx="4"/>
          </p:nvPr>
        </p:nvSpPr>
        <p:spPr>
          <a:xfrm>
            <a:off x="5032379"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9"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70"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71"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14622027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73" name="タイトル 1"/>
          <p:cNvSpPr>
            <a:spLocks noGrp="1"/>
          </p:cNvSpPr>
          <p:nvPr>
            <p:ph type="title"/>
          </p:nvPr>
        </p:nvSpPr>
        <p:spPr/>
        <p:txBody>
          <a:bodyPr/>
          <a:lstStyle/>
          <a:p>
            <a:r>
              <a:rPr lang="ja-JP" altLang="en-US"/>
              <a:t>マスター タイトルの書式設定</a:t>
            </a:r>
          </a:p>
        </p:txBody>
      </p:sp>
      <p:sp>
        <p:nvSpPr>
          <p:cNvPr id="1074"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7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76" name="Rectangle 5"/>
          <p:cNvSpPr>
            <a:spLocks noGrp="1" noChangeArrowheads="1"/>
          </p:cNvSpPr>
          <p:nvPr>
            <p:ph type="sldNum" sz="quarter" idx="12"/>
          </p:nvPr>
        </p:nvSpPr>
        <p:spPr>
          <a:ln/>
        </p:spPr>
        <p:txBody>
          <a:bodyPr/>
          <a:lstStyle>
            <a:lvl1pPr>
              <a:defRPr/>
            </a:lvl1pPr>
          </a:lstStyle>
          <a:p>
            <a:pPr>
              <a:defRPr/>
            </a:pPr>
            <a:fld id="{6C8B3383-B952-447B-9C5E-1900D707C22A}"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935993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8" name="Rectangle 3"/>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1079" name="Rectangle 4"/>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
        <p:nvSpPr>
          <p:cNvPr id="1080" name="Rectangle 5"/>
          <p:cNvSpPr>
            <a:spLocks noGrp="1" noChangeArrowheads="1"/>
          </p:cNvSpPr>
          <p:nvPr>
            <p:ph type="sldNum" sz="quarter" idx="12"/>
          </p:nvPr>
        </p:nvSpPr>
        <p:spPr>
          <a:ln/>
        </p:spPr>
        <p:txBody>
          <a:bodyPr/>
          <a:lstStyle>
            <a:lvl1pPr>
              <a:defRPr/>
            </a:lvl1pPr>
          </a:lstStyle>
          <a:p>
            <a:pPr>
              <a:defRPr/>
            </a:pPr>
            <a:fld id="{6A8F643B-1E2A-4F03-8182-047C0680F225}" type="slidenum">
              <a:rPr lang="en-US" altLang="ja-JP" smtClean="0">
                <a:solidFill>
                  <a:prstClr val="black"/>
                </a:solidFill>
              </a:rPr>
              <a:pPr>
                <a:defRPr/>
              </a:pPr>
              <a:t>‹#›</a:t>
            </a:fld>
            <a:endParaRPr lang="en-US" altLang="ja-JP">
              <a:solidFill>
                <a:prstClr val="black"/>
              </a:solidFill>
            </a:endParaRPr>
          </a:p>
        </p:txBody>
      </p:sp>
    </p:spTree>
    <p:extLst>
      <p:ext uri="{BB962C8B-B14F-4D97-AF65-F5344CB8AC3E}">
        <p14:creationId xmlns:p14="http://schemas.microsoft.com/office/powerpoint/2010/main" val="16680711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82" name="タイトル 1"/>
          <p:cNvSpPr>
            <a:spLocks noGrp="1"/>
          </p:cNvSpPr>
          <p:nvPr>
            <p:ph type="title"/>
          </p:nvPr>
        </p:nvSpPr>
        <p:spPr>
          <a:xfrm>
            <a:off x="495300" y="273050"/>
            <a:ext cx="3259138" cy="1162050"/>
          </a:xfrm>
        </p:spPr>
        <p:txBody>
          <a:bodyPr anchor="b"/>
          <a:lstStyle>
            <a:lvl1pPr algn="l">
              <a:defRPr sz="2000" b="1"/>
            </a:lvl1pPr>
          </a:lstStyle>
          <a:p>
            <a:r>
              <a:rPr lang="ja-JP" altLang="en-US"/>
              <a:t>マスター タイトルの書式設定</a:t>
            </a:r>
          </a:p>
        </p:txBody>
      </p:sp>
      <p:sp>
        <p:nvSpPr>
          <p:cNvPr id="1083" name="コンテンツ プレースホルダ 2"/>
          <p:cNvSpPr>
            <a:spLocks noGrp="1"/>
          </p:cNvSpPr>
          <p:nvPr>
            <p:ph idx="1"/>
          </p:nvPr>
        </p:nvSpPr>
        <p:spPr>
          <a:xfrm>
            <a:off x="3873499" y="27305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84" name="テキスト プレースホルダ 3"/>
          <p:cNvSpPr>
            <a:spLocks noGrp="1"/>
          </p:cNvSpPr>
          <p:nvPr>
            <p:ph type="body" sz="half" idx="2"/>
          </p:nvPr>
        </p:nvSpPr>
        <p:spPr>
          <a:xfrm>
            <a:off x="495300" y="1435102"/>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1085"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86"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87"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1867174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9" name="タイトル 1"/>
          <p:cNvSpPr>
            <a:spLocks noGrp="1"/>
          </p:cNvSpPr>
          <p:nvPr>
            <p:ph type="title"/>
          </p:nvPr>
        </p:nvSpPr>
        <p:spPr>
          <a:xfrm>
            <a:off x="1941513" y="4800600"/>
            <a:ext cx="5943600" cy="566738"/>
          </a:xfrm>
        </p:spPr>
        <p:txBody>
          <a:bodyPr anchor="b"/>
          <a:lstStyle>
            <a:lvl1pPr algn="l">
              <a:defRPr sz="2000" b="1"/>
            </a:lvl1pPr>
          </a:lstStyle>
          <a:p>
            <a:r>
              <a:rPr lang="ja-JP" altLang="en-US"/>
              <a:t>マスター タイトルの書式設定</a:t>
            </a:r>
          </a:p>
        </p:txBody>
      </p:sp>
      <p:sp>
        <p:nvSpPr>
          <p:cNvPr id="1090" name="図プレースホルダ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a:t>図を追加</a:t>
            </a:r>
          </a:p>
        </p:txBody>
      </p:sp>
      <p:sp>
        <p:nvSpPr>
          <p:cNvPr id="1091" name="テキスト プレースホルダ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1092"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93"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94"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1895415761"/>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theme/theme1.xml" Type="http://schemas.openxmlformats.org/officeDocument/2006/relationships/theme"/><Relationship Id="rId16" Target="../media/image1.jpeg" Type="http://schemas.openxmlformats.org/officeDocument/2006/relationships/image"/><Relationship Id="rId17" Target="../media/image2.jpeg"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5.xml" Type="http://schemas.openxmlformats.org/officeDocument/2006/relationships/slideLayout"/><Relationship Id="rId2" Target="../theme/theme2.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4"/>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latin typeface="Arial" charset="0"/>
                <a:ea typeface="ＭＳ Ｐゴシック" pitchFamily="50" charset="-128"/>
              </a:defRPr>
            </a:lvl1pPr>
          </a:lstStyle>
          <a:p>
            <a:pPr fontAlgn="base">
              <a:spcBef>
                <a:spcPct val="0"/>
              </a:spcBef>
              <a:spcAft>
                <a:spcPct val="0"/>
              </a:spcAft>
              <a:defRPr/>
            </a:pPr>
            <a:endParaRPr lang="en-US" altLang="ja-JP"/>
          </a:p>
        </p:txBody>
      </p:sp>
      <p:sp>
        <p:nvSpPr>
          <p:cNvPr id="1027" name="Rectangle 4"/>
          <p:cNvSpPr>
            <a:spLocks noGrp="1" noChangeArrowheads="1"/>
          </p:cNvSpPr>
          <p:nvPr>
            <p:ph type="ftr" sz="quarter" idx="3"/>
          </p:nvPr>
        </p:nvSpPr>
        <p:spPr>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ea typeface="ＭＳ Ｐゴシック" pitchFamily="50" charset="-128"/>
              </a:defRPr>
            </a:lvl1pPr>
          </a:lstStyle>
          <a:p>
            <a:pPr fontAlgn="base">
              <a:spcBef>
                <a:spcPct val="0"/>
              </a:spcBef>
              <a:spcAft>
                <a:spcPct val="0"/>
              </a:spcAft>
              <a:defRPr/>
            </a:pPr>
            <a:endParaRPr lang="en-US" altLang="ja-JP"/>
          </a:p>
        </p:txBody>
      </p:sp>
      <p:sp>
        <p:nvSpPr>
          <p:cNvPr id="1028" name="Rectangle 5"/>
          <p:cNvSpPr>
            <a:spLocks noGrp="1" noChangeArrowheads="1"/>
          </p:cNvSpPr>
          <p:nvPr>
            <p:ph type="sldNum" sz="quarter" idx="4"/>
          </p:nvPr>
        </p:nvSpPr>
        <p:spPr>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charset="0"/>
                <a:ea typeface="ＭＳ Ｐゴシック" pitchFamily="50" charset="-128"/>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
        <p:nvSpPr>
          <p:cNvPr id="1029" name="Rectangle 6"/>
          <p:cNvSpPr>
            <a:spLocks noChangeArrowheads="1"/>
          </p:cNvSpPr>
          <p:nvPr/>
        </p:nvSpPr>
        <p:spPr>
          <a:xfrm>
            <a:off x="0" y="1"/>
            <a:ext cx="9906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grpSp>
        <p:nvGrpSpPr>
          <p:cNvPr id="1030" name="Group 27"/>
          <p:cNvGrpSpPr/>
          <p:nvPr/>
        </p:nvGrpSpPr>
        <p:grpSpPr>
          <a:xfrm>
            <a:off x="0" y="333378"/>
            <a:ext cx="9906000" cy="214313"/>
            <a:chOff x="0" y="255"/>
            <a:chExt cx="6240" cy="135"/>
          </a:xfrm>
        </p:grpSpPr>
        <p:sp>
          <p:nvSpPr>
            <p:cNvPr id="1031" name="Rectangle 28"/>
            <p:cNvSpPr>
              <a:spLocks noChangeArrowheads="1"/>
            </p:cNvSpPr>
            <p:nvPr/>
          </p:nvSpPr>
          <p:spPr>
            <a:xfrm>
              <a:off x="0" y="345"/>
              <a:ext cx="6240" cy="45"/>
            </a:xfrm>
            <a:prstGeom prst="rect">
              <a:avLst/>
            </a:prstGeom>
            <a:solidFill>
              <a:srgbClr val="FF0000"/>
            </a:solid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2" name="Rectangle 29"/>
            <p:cNvSpPr>
              <a:spLocks noChangeArrowheads="1"/>
            </p:cNvSpPr>
            <p:nvPr/>
          </p:nvSpPr>
          <p:spPr>
            <a:xfrm>
              <a:off x="0" y="300"/>
              <a:ext cx="6240" cy="45"/>
            </a:xfrm>
            <a:prstGeom prst="rect">
              <a:avLst/>
            </a:prstGeom>
            <a:solidFill>
              <a:srgbClr val="FF3399"/>
            </a:solid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3" name="Rectangle 30"/>
            <p:cNvSpPr>
              <a:spLocks noChangeArrowheads="1"/>
            </p:cNvSpPr>
            <p:nvPr/>
          </p:nvSpPr>
          <p:spPr>
            <a:xfrm>
              <a:off x="0" y="255"/>
              <a:ext cx="6240" cy="45"/>
            </a:xfrm>
            <a:prstGeom prst="rect">
              <a:avLst/>
            </a:prstGeom>
            <a:solidFill>
              <a:srgbClr val="FFCCFF"/>
            </a:solid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grpSp>
      <p:sp>
        <p:nvSpPr>
          <p:cNvPr id="1034" name="Rectangle 22"/>
          <p:cNvSpPr>
            <a:spLocks noGrp="1" noChangeArrowheads="1"/>
          </p:cNvSpPr>
          <p:nvPr>
            <p:ph type="title"/>
          </p:nvPr>
        </p:nvSpPr>
        <p:spPr>
          <a:xfrm>
            <a:off x="1" y="0"/>
            <a:ext cx="826611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35" name="Picture 32" descr="ppjtitle"/>
          <p:cNvPicPr>
            <a:picLocks noChangeAspect="1" noChangeArrowheads="1"/>
          </p:cNvPicPr>
          <p:nvPr/>
        </p:nvPicPr>
        <p:blipFill>
          <a:blip r:embed="rId16"/>
          <a:stretch>
            <a:fillRect/>
          </a:stretch>
        </p:blipFill>
        <p:spPr>
          <a:xfrm>
            <a:off x="8697916" y="1"/>
            <a:ext cx="1208087" cy="334963"/>
          </a:xfrm>
          <a:prstGeom prst="rect">
            <a:avLst/>
          </a:prstGeom>
          <a:noFill/>
          <a:ln w="9525">
            <a:noFill/>
            <a:miter lim="800000"/>
            <a:headEnd/>
            <a:tailEnd/>
          </a:ln>
        </p:spPr>
      </p:pic>
      <p:pic>
        <p:nvPicPr>
          <p:cNvPr id="13" name="Picture 32" descr="ppjtitle"/>
          <p:cNvPicPr>
            <a:picLocks noChangeAspect="1" noChangeArrowheads="1"/>
          </p:cNvPicPr>
          <p:nvPr userDrawn="1"/>
        </p:nvPicPr>
        <p:blipFill>
          <a:blip r:embed="rId17"/>
          <a:srcRect l="1756" r="81940" b="42691"/>
          <a:stretch>
            <a:fillRect/>
          </a:stretch>
        </p:blipFill>
        <p:spPr>
          <a:xfrm>
            <a:off x="8697916" y="6"/>
            <a:ext cx="1208087" cy="334963"/>
          </a:xfrm>
          <a:prstGeom prst="rect">
            <a:avLst/>
          </a:prstGeom>
          <a:noFill/>
          <a:ln>
            <a:noFill/>
          </a:ln>
        </p:spPr>
      </p:pic>
    </p:spTree>
    <p:extLst>
      <p:ext uri="{BB962C8B-B14F-4D97-AF65-F5344CB8AC3E}">
        <p14:creationId xmlns:p14="http://schemas.microsoft.com/office/powerpoint/2010/main" val="22415227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rtl="0" eaLnBrk="1" fontAlgn="base" hangingPunct="1">
        <a:spcBef>
          <a:spcPct val="0"/>
        </a:spcBef>
        <a:spcAft>
          <a:spcPct val="0"/>
        </a:spcAft>
        <a:defRPr kumimoji="1" sz="2800">
          <a:solidFill>
            <a:schemeClr val="tx1"/>
          </a:solidFill>
          <a:latin typeface="+mj-lt"/>
          <a:ea typeface="+mj-ea"/>
          <a:cs typeface="+mj-cs"/>
        </a:defRPr>
      </a:lvl1pPr>
      <a:lvl2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1" fontAlgn="base" hangingPunct="1">
        <a:spcBef>
          <a:spcPct val="20000"/>
        </a:spcBef>
        <a:spcAft>
          <a:spcPct val="0"/>
        </a:spcAft>
        <a:buChar char="•"/>
        <a:defRPr kumimoji="1" sz="3200">
          <a:solidFill>
            <a:schemeClr val="tx1"/>
          </a:solidFill>
          <a:latin typeface="+mn-lt"/>
          <a:ea typeface="ＭＳ Ｐゴシック" pitchFamily="50" charset="-128"/>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ＭＳ Ｐゴシック" pitchFamily="50" charset="-128"/>
        </a:defRPr>
      </a:lvl2pPr>
      <a:lvl3pPr marL="1143000" indent="-228600" algn="l" rtl="0" eaLnBrk="1" fontAlgn="base" hangingPunct="1">
        <a:spcBef>
          <a:spcPct val="20000"/>
        </a:spcBef>
        <a:spcAft>
          <a:spcPct val="0"/>
        </a:spcAft>
        <a:buChar char="•"/>
        <a:defRPr kumimoji="1" sz="2400">
          <a:solidFill>
            <a:schemeClr val="tx1"/>
          </a:solidFill>
          <a:latin typeface="+mn-lt"/>
          <a:ea typeface="ＭＳ Ｐゴシック" pitchFamily="50" charset="-128"/>
        </a:defRPr>
      </a:lvl3pPr>
      <a:lvl4pPr marL="1600200" indent="-228600" algn="l" rtl="0" eaLnBrk="1" fontAlgn="base" hangingPunct="1">
        <a:spcBef>
          <a:spcPct val="20000"/>
        </a:spcBef>
        <a:spcAft>
          <a:spcPct val="0"/>
        </a:spcAft>
        <a:buChar char="–"/>
        <a:defRPr kumimoji="1" sz="2000">
          <a:solidFill>
            <a:schemeClr val="tx1"/>
          </a:solidFill>
          <a:latin typeface="+mn-lt"/>
          <a:ea typeface="ＭＳ Ｐゴシック" pitchFamily="50" charset="-128"/>
        </a:defRPr>
      </a:lvl4pPr>
      <a:lvl5pPr marL="2057400" indent="-228600" algn="l" rtl="0" eaLnBrk="1" fontAlgn="base" hangingPunct="1">
        <a:spcBef>
          <a:spcPct val="20000"/>
        </a:spcBef>
        <a:spcAft>
          <a:spcPct val="0"/>
        </a:spcAft>
        <a:buChar char="»"/>
        <a:defRPr kumimoji="1" sz="2000">
          <a:solidFill>
            <a:schemeClr val="tx1"/>
          </a:solidFill>
          <a:latin typeface="+mn-lt"/>
          <a:ea typeface="ＭＳ Ｐゴシック" pitchFamily="50" charset="-128"/>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en-US" altLang="ja-JP"/>
              <a:t>DT Template A4</a:t>
            </a:r>
            <a:endParaRPr kumimoji="1" lang="ja-JP" altLang="en-US"/>
          </a:p>
        </p:txBody>
      </p:sp>
      <p:sp>
        <p:nvSpPr>
          <p:cNvPr id="6" name="Slide Number Placeholder 5"/>
          <p:cNvSpPr>
            <a:spLocks noGrp="1"/>
          </p:cNvSpPr>
          <p:nvPr>
            <p:ph type="sldNum" sz="quarter" idx="4"/>
          </p:nvPr>
        </p:nvSpPr>
        <p:spPr>
          <a:xfrm>
            <a:off x="0" y="2"/>
            <a:ext cx="4098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C1B844-D6F5-480C-BEB0-0E7DC0AD00ED}" type="slidenum">
              <a:rPr kumimoji="1" lang="ja-JP" altLang="en-US" smtClean="0"/>
              <a:t>‹#›</a:t>
            </a:fld>
            <a:endParaRPr kumimoji="1" lang="ja-JP" altLang="en-US"/>
          </a:p>
        </p:txBody>
      </p:sp>
    </p:spTree>
    <p:extLst>
      <p:ext uri="{BB962C8B-B14F-4D97-AF65-F5344CB8AC3E}">
        <p14:creationId xmlns:p14="http://schemas.microsoft.com/office/powerpoint/2010/main" val="2920061156"/>
      </p:ext>
    </p:extLst>
  </p:cSld>
  <p:clrMap bg1="lt1" tx1="dk1" bg2="lt2" tx2="dk2" accent1="accent1" accent2="accent2" accent3="accent3" accent4="accent4" accent5="accent5" accent6="accent6" hlink="hlink" folHlink="folHlink"/>
  <p:sldLayoutIdLst>
    <p:sldLayoutId id="2147483677"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2.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3.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4.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5.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6.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8.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6" name="正方形/長方形 2"/>
          <p:cNvSpPr>
            <a:spLocks noChangeArrowheads="1"/>
          </p:cNvSpPr>
          <p:nvPr/>
        </p:nvSpPr>
        <p:spPr>
          <a:xfrm>
            <a:off x="698500" y="0"/>
            <a:ext cx="7974445" cy="346472"/>
          </a:xfrm>
          <a:prstGeom prst="rect">
            <a:avLst/>
          </a:prstGeom>
          <a:no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just">
              <a:buNone/>
            </a:pPr>
            <a:r>
              <a:rPr lang="ja-JP" altLang="en-US" sz="2400" kern="0">
                <a:solidFill>
                  <a:srgbClr val="0070C0"/>
                </a:solidFill>
                <a:latin typeface="Meiryo UI" panose="020B0604030504040204" pitchFamily="50" charset="-128"/>
                <a:ea typeface="Meiryo UI" panose="020B0604030504040204" pitchFamily="50" charset="-128"/>
              </a:rPr>
              <a:t>実証事業名</a:t>
            </a:r>
          </a:p>
        </p:txBody>
      </p:sp>
      <p:sp>
        <p:nvSpPr>
          <p:cNvPr id="2" name="スライド番号プレースホルダー 1">
            <a:extLst>
              <a:ext uri="{FF2B5EF4-FFF2-40B4-BE49-F238E27FC236}">
                <a16:creationId xmlns:a16="http://schemas.microsoft.com/office/drawing/2014/main" id="{3FD9B9F7-9BCA-FE4C-B5D9-D5F1A0B93A2F}"/>
              </a:ext>
            </a:extLst>
          </p:cNvPr>
          <p:cNvSpPr>
            <a:spLocks noGrp="1"/>
          </p:cNvSpPr>
          <p:nvPr>
            <p:ph type="sldNum" sz="quarter" idx="12"/>
          </p:nvPr>
        </p:nvSpPr>
        <p:spPr>
          <a:xfrm>
            <a:off x="0" y="-1693"/>
            <a:ext cx="698500" cy="345934"/>
          </a:xfrm>
          <a:solidFill>
            <a:schemeClr val="accent5"/>
          </a:solidFill>
        </p:spPr>
        <p:txBody>
          <a:bodyPr lIns="0" tIns="0" rIns="0" bIns="0" anchor="ctr"/>
          <a:lstStyle/>
          <a:p>
            <a:pPr algn="ctr">
              <a:defRPr/>
            </a:pPr>
            <a:r>
              <a:rPr lang="ja-JP" altLang="en-US" sz="2400" b="1" dirty="0">
                <a:solidFill>
                  <a:srgbClr val="000000"/>
                </a:solidFill>
                <a:latin typeface="Meiryo UI" panose="020B0604030504040204" pitchFamily="50" charset="-128"/>
                <a:ea typeface="Meiryo UI" panose="020B0604030504040204" pitchFamily="50" charset="-128"/>
              </a:rPr>
              <a:t>①</a:t>
            </a:r>
            <a:endParaRPr lang="en-US" altLang="ja-JP" sz="2400" b="1" dirty="0">
              <a:solidFill>
                <a:srgbClr val="000000"/>
              </a:solidFill>
              <a:latin typeface="Meiryo UI" panose="020B0604030504040204" pitchFamily="50" charset="-128"/>
              <a:ea typeface="Meiryo UI" panose="020B0604030504040204" pitchFamily="50" charset="-128"/>
            </a:endParaRPr>
          </a:p>
        </p:txBody>
      </p:sp>
      <p:sp>
        <p:nvSpPr>
          <p:cNvPr id="12" name="吹き出し: 四角形 11">
            <a:extLst>
              <a:ext uri="{FF2B5EF4-FFF2-40B4-BE49-F238E27FC236}">
                <a16:creationId xmlns:a16="http://schemas.microsoft.com/office/drawing/2014/main" id="{154190D6-EBE4-3FC8-C3E5-1C5CF9C50E3E}"/>
              </a:ext>
            </a:extLst>
          </p:cNvPr>
          <p:cNvSpPr/>
          <p:nvPr/>
        </p:nvSpPr>
        <p:spPr>
          <a:xfrm>
            <a:off x="-4127500" y="-342548"/>
            <a:ext cx="3908469" cy="902689"/>
          </a:xfrm>
          <a:prstGeom prst="wedgeRectCallout">
            <a:avLst>
              <a:gd name="adj1" fmla="val 5658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a:t>
            </a:r>
            <a:r>
              <a:rPr kumimoji="0" lang="ja-JP" altLang="en-US" sz="1400" kern="0" dirty="0">
                <a:solidFill>
                  <a:prstClr val="black"/>
                </a:solidFill>
                <a:latin typeface="Meiryo UI" panose="020B0604030504040204" pitchFamily="50" charset="-128"/>
                <a:ea typeface="Meiryo UI" panose="020B0604030504040204" pitchFamily="50" charset="-128"/>
              </a:rPr>
              <a:t>のモデルの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エントリー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アドバンスド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14" name="表 13">
            <a:extLst>
              <a:ext uri="{FF2B5EF4-FFF2-40B4-BE49-F238E27FC236}">
                <a16:creationId xmlns:a16="http://schemas.microsoft.com/office/drawing/2014/main" id="{465B8625-292D-5DDB-CB8D-E23AFD111FFA}"/>
              </a:ext>
            </a:extLst>
          </p:cNvPr>
          <p:cNvGraphicFramePr>
            <a:graphicFrameLocks noGrp="1"/>
          </p:cNvGraphicFramePr>
          <p:nvPr>
            <p:extLst>
              <p:ext uri="{D42A27DB-BD31-4B8C-83A1-F6EECF244321}">
                <p14:modId xmlns:p14="http://schemas.microsoft.com/office/powerpoint/2010/main" val="1346255397"/>
              </p:ext>
            </p:extLst>
          </p:nvPr>
        </p:nvGraphicFramePr>
        <p:xfrm>
          <a:off x="130220" y="6516440"/>
          <a:ext cx="9645558" cy="218880"/>
        </p:xfrm>
        <a:graphic>
          <a:graphicData uri="http://schemas.openxmlformats.org/drawingml/2006/table">
            <a:tbl>
              <a:tblPr firstRow="1" bandRow="1">
                <a:tableStyleId>{5C22544A-7EE6-4342-B048-85BDC9FD1C3A}</a:tableStyleId>
              </a:tblPr>
              <a:tblGrid>
                <a:gridCol w="1127456">
                  <a:extLst>
                    <a:ext uri="{9D8B030D-6E8A-4147-A177-3AD203B41FA5}">
                      <a16:colId xmlns:a16="http://schemas.microsoft.com/office/drawing/2014/main" val="1564954061"/>
                    </a:ext>
                  </a:extLst>
                </a:gridCol>
                <a:gridCol w="2087730">
                  <a:extLst>
                    <a:ext uri="{9D8B030D-6E8A-4147-A177-3AD203B41FA5}">
                      <a16:colId xmlns:a16="http://schemas.microsoft.com/office/drawing/2014/main" val="749375402"/>
                    </a:ext>
                  </a:extLst>
                </a:gridCol>
                <a:gridCol w="1127456">
                  <a:extLst>
                    <a:ext uri="{9D8B030D-6E8A-4147-A177-3AD203B41FA5}">
                      <a16:colId xmlns:a16="http://schemas.microsoft.com/office/drawing/2014/main" val="554375081"/>
                    </a:ext>
                  </a:extLst>
                </a:gridCol>
                <a:gridCol w="2087730">
                  <a:extLst>
                    <a:ext uri="{9D8B030D-6E8A-4147-A177-3AD203B41FA5}">
                      <a16:colId xmlns:a16="http://schemas.microsoft.com/office/drawing/2014/main" val="1442545753"/>
                    </a:ext>
                  </a:extLst>
                </a:gridCol>
                <a:gridCol w="1127456">
                  <a:extLst>
                    <a:ext uri="{9D8B030D-6E8A-4147-A177-3AD203B41FA5}">
                      <a16:colId xmlns:a16="http://schemas.microsoft.com/office/drawing/2014/main" val="1096893270"/>
                    </a:ext>
                  </a:extLst>
                </a:gridCol>
                <a:gridCol w="2087730">
                  <a:extLst>
                    <a:ext uri="{9D8B030D-6E8A-4147-A177-3AD203B41FA5}">
                      <a16:colId xmlns:a16="http://schemas.microsoft.com/office/drawing/2014/main" val="1687514052"/>
                    </a:ext>
                  </a:extLst>
                </a:gridCol>
              </a:tblGrid>
              <a:tr h="0">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代表企業等</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bl>
          </a:graphicData>
        </a:graphic>
      </p:graphicFrame>
      <p:sp>
        <p:nvSpPr>
          <p:cNvPr id="16" name="吹き出し: 四角形 15">
            <a:extLst>
              <a:ext uri="{FF2B5EF4-FFF2-40B4-BE49-F238E27FC236}">
                <a16:creationId xmlns:a16="http://schemas.microsoft.com/office/drawing/2014/main" id="{B8E09D0D-5535-968A-7580-0C62CDF9D579}"/>
              </a:ext>
            </a:extLst>
          </p:cNvPr>
          <p:cNvSpPr/>
          <p:nvPr/>
        </p:nvSpPr>
        <p:spPr>
          <a:xfrm>
            <a:off x="10024108" y="6349274"/>
            <a:ext cx="2401478" cy="483326"/>
          </a:xfrm>
          <a:prstGeom prst="wedgeRectCallout">
            <a:avLst>
              <a:gd name="adj1" fmla="val -62913"/>
              <a:gd name="adj2" fmla="val 8660"/>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エリア・コンソーシアム名・代表企業等を記入してください。</a:t>
            </a:r>
          </a:p>
        </p:txBody>
      </p:sp>
      <p:sp>
        <p:nvSpPr>
          <p:cNvPr id="17" name="吹き出し: 四角形 16">
            <a:extLst>
              <a:ext uri="{FF2B5EF4-FFF2-40B4-BE49-F238E27FC236}">
                <a16:creationId xmlns:a16="http://schemas.microsoft.com/office/drawing/2014/main" id="{F8645304-CE53-2E8F-8FC3-57B09B268C28}"/>
              </a:ext>
            </a:extLst>
          </p:cNvPr>
          <p:cNvSpPr/>
          <p:nvPr/>
        </p:nvSpPr>
        <p:spPr>
          <a:xfrm>
            <a:off x="-22357" y="-1323081"/>
            <a:ext cx="5080000" cy="820720"/>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注：本</a:t>
            </a:r>
            <a:r>
              <a:rPr kumimoji="0" lang="ja-JP" altLang="en-US" sz="1400" kern="0" dirty="0">
                <a:solidFill>
                  <a:prstClr val="black"/>
                </a:solidFill>
                <a:latin typeface="Meiryo UI" panose="020B0604030504040204" pitchFamily="50" charset="-128"/>
                <a:ea typeface="Meiryo UI" panose="020B0604030504040204" pitchFamily="50" charset="-128"/>
              </a:rPr>
              <a:t>事業概要説明書は、</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公表される前提で作成してください。　　　　　　　　　　　　　　　　　　　　　　　　　　　　　　　　　　　　　　　　　　　　　　　　　　　　</a:t>
            </a:r>
          </a:p>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注：事業の概要が本スライド一枚で分かるように作成してください。</a:t>
            </a:r>
          </a:p>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注：青字の記載例及び水色のコメントは、提出時に削除してください。</a:t>
            </a:r>
          </a:p>
        </p:txBody>
      </p:sp>
      <p:sp>
        <p:nvSpPr>
          <p:cNvPr id="3" name="正方形/長方形 1210">
            <a:extLst>
              <a:ext uri="{FF2B5EF4-FFF2-40B4-BE49-F238E27FC236}">
                <a16:creationId xmlns:a16="http://schemas.microsoft.com/office/drawing/2014/main" id="{64668CCC-D07F-314B-1DBD-4CD9BF2D6906}"/>
              </a:ext>
            </a:extLst>
          </p:cNvPr>
          <p:cNvSpPr/>
          <p:nvPr/>
        </p:nvSpPr>
        <p:spPr>
          <a:xfrm>
            <a:off x="130219" y="579014"/>
            <a:ext cx="4774849" cy="1408623"/>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lvl="0" defTabSz="457200">
              <a:defRPr/>
            </a:pPr>
            <a:r>
              <a:rPr kumimoji="0" lang="ja-JP" altLang="en-US" sz="1200">
                <a:solidFill>
                  <a:srgbClr val="0070C0"/>
                </a:solidFill>
                <a:latin typeface="Meiryo UI" panose="020B0604030504040204" pitchFamily="50" charset="-128"/>
                <a:ea typeface="Meiryo UI" panose="020B0604030504040204" pitchFamily="50" charset="-128"/>
              </a:rPr>
              <a:t>記載例：本事業期間内では、～～（地域名・施設名）において、～</a:t>
            </a: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本事業のターゲット層に対するゴール等）に取り組むことで、～～を図り、～～を目指す。</a:t>
            </a:r>
            <a:endParaRPr kumimoji="0"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また、本事業終了後は、更なる</a:t>
            </a:r>
            <a:r>
              <a:rPr kumimoji="0"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を行い、</a:t>
            </a:r>
            <a:r>
              <a:rPr kumimoji="0"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具体的なビジョン・目指す姿・ロードマップ等）を実現することを目指す。</a:t>
            </a:r>
          </a:p>
        </p:txBody>
      </p:sp>
      <p:sp>
        <p:nvSpPr>
          <p:cNvPr id="4" name="正方形/長方形 1212">
            <a:extLst>
              <a:ext uri="{FF2B5EF4-FFF2-40B4-BE49-F238E27FC236}">
                <a16:creationId xmlns:a16="http://schemas.microsoft.com/office/drawing/2014/main" id="{26DF6368-687C-0056-2916-FB60191EE32C}"/>
              </a:ext>
            </a:extLst>
          </p:cNvPr>
          <p:cNvSpPr/>
          <p:nvPr/>
        </p:nvSpPr>
        <p:spPr>
          <a:xfrm>
            <a:off x="130220" y="579014"/>
            <a:ext cx="1668948" cy="208386"/>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目指す姿</a:t>
            </a:r>
          </a:p>
        </p:txBody>
      </p:sp>
      <p:sp>
        <p:nvSpPr>
          <p:cNvPr id="5" name="正方形/長方形 1210">
            <a:extLst>
              <a:ext uri="{FF2B5EF4-FFF2-40B4-BE49-F238E27FC236}">
                <a16:creationId xmlns:a16="http://schemas.microsoft.com/office/drawing/2014/main" id="{7E4A52F3-3DA2-5D44-E3BD-B902F87E0163}"/>
              </a:ext>
            </a:extLst>
          </p:cNvPr>
          <p:cNvSpPr/>
          <p:nvPr/>
        </p:nvSpPr>
        <p:spPr>
          <a:xfrm>
            <a:off x="5000933" y="579014"/>
            <a:ext cx="4774849" cy="1408623"/>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記載例：～～（具体的な地域や観光シーン等）には、～～という資源や潜在能力があるにもかかわらず、～～という課題を抱えている。</a:t>
            </a:r>
          </a:p>
        </p:txBody>
      </p:sp>
      <p:sp>
        <p:nvSpPr>
          <p:cNvPr id="7" name="正方形/長方形 1212">
            <a:extLst>
              <a:ext uri="{FF2B5EF4-FFF2-40B4-BE49-F238E27FC236}">
                <a16:creationId xmlns:a16="http://schemas.microsoft.com/office/drawing/2014/main" id="{B59A738D-1F41-0283-0531-8D18030986DF}"/>
              </a:ext>
            </a:extLst>
          </p:cNvPr>
          <p:cNvSpPr/>
          <p:nvPr/>
        </p:nvSpPr>
        <p:spPr>
          <a:xfrm>
            <a:off x="5000932" y="579014"/>
            <a:ext cx="1668948" cy="208386"/>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現状・課題</a:t>
            </a:r>
          </a:p>
        </p:txBody>
      </p:sp>
      <p:sp>
        <p:nvSpPr>
          <p:cNvPr id="20" name="正方形/長方形 1210">
            <a:extLst>
              <a:ext uri="{FF2B5EF4-FFF2-40B4-BE49-F238E27FC236}">
                <a16:creationId xmlns:a16="http://schemas.microsoft.com/office/drawing/2014/main" id="{EEFD26E9-CAD2-80C4-E43F-C9A78F193DC8}"/>
              </a:ext>
            </a:extLst>
          </p:cNvPr>
          <p:cNvSpPr/>
          <p:nvPr/>
        </p:nvSpPr>
        <p:spPr>
          <a:xfrm>
            <a:off x="130219" y="2329720"/>
            <a:ext cx="9645558" cy="2828173"/>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R="0" lvl="0" algn="l" defTabSz="457200" rtl="0" eaLnBrk="1" fontAlgn="auto" latinLnBrk="0" hangingPunct="1">
              <a:lnSpc>
                <a:spcPct val="100000"/>
              </a:lnSpc>
              <a:spcBef>
                <a:spcPts val="0"/>
              </a:spcBef>
              <a:spcAft>
                <a:spcPts val="0"/>
              </a:spcAft>
              <a:buClrTx/>
              <a:buSzTx/>
              <a:tabLst/>
              <a:defRPr/>
            </a:pPr>
            <a:r>
              <a:rPr kumimoji="0"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概要</a:t>
            </a:r>
            <a:r>
              <a:rPr kumimoji="0"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200">
              <a:solidFill>
                <a:srgbClr val="0070C0"/>
              </a:solidFill>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記載例：～～（目指す姿）を実現するべく、～～（観光関連サービスやデジタル技術）を構築・活用し、～～に取り組む。</a:t>
            </a:r>
            <a:endParaRPr kumimoji="0" lang="en-US" altLang="ja-JP" sz="1200">
              <a:solidFill>
                <a:srgbClr val="0070C0"/>
              </a:solidFill>
              <a:latin typeface="Meiryo UI" panose="020B0604030504040204" pitchFamily="50" charset="-128"/>
              <a:ea typeface="Meiryo UI" panose="020B0604030504040204" pitchFamily="50" charset="-128"/>
            </a:endParaRPr>
          </a:p>
          <a:p>
            <a:pPr defTabSz="457200">
              <a:defRPr/>
            </a:pPr>
            <a:r>
              <a:rPr kumimoji="0" lang="en-US" altLang="ja-JP" sz="1200">
                <a:solidFill>
                  <a:srgbClr val="000000"/>
                </a:solidFill>
                <a:latin typeface="Meiryo UI" panose="020B0604030504040204" pitchFamily="50" charset="-128"/>
                <a:ea typeface="Meiryo UI" panose="020B0604030504040204" pitchFamily="50" charset="-128"/>
              </a:rPr>
              <a:t>【KGI</a:t>
            </a:r>
            <a:r>
              <a:rPr kumimoji="0" lang="ja-JP" altLang="en-US" sz="1200">
                <a:solidFill>
                  <a:srgbClr val="000000"/>
                </a:solidFill>
                <a:latin typeface="Meiryo UI" panose="020B0604030504040204" pitchFamily="50" charset="-128"/>
                <a:ea typeface="Meiryo UI" panose="020B0604030504040204" pitchFamily="50" charset="-128"/>
              </a:rPr>
              <a:t>と</a:t>
            </a:r>
            <a:r>
              <a:rPr kumimoji="0" lang="en-US" altLang="ja-JP" sz="1200">
                <a:solidFill>
                  <a:srgbClr val="000000"/>
                </a:solidFill>
                <a:latin typeface="Meiryo UI" panose="020B0604030504040204" pitchFamily="50" charset="-128"/>
                <a:ea typeface="Meiryo UI" panose="020B0604030504040204" pitchFamily="50" charset="-128"/>
              </a:rPr>
              <a:t>KPI】</a:t>
            </a:r>
            <a:endParaRPr kumimoji="0" lang="ja-JP" altLang="en-US" sz="1200">
              <a:solidFill>
                <a:srgbClr val="000000"/>
              </a:solidFill>
              <a:latin typeface="Meiryo UI" panose="020B0604030504040204" pitchFamily="50" charset="-128"/>
              <a:ea typeface="Meiryo UI" panose="020B0604030504040204" pitchFamily="50" charset="-128"/>
            </a:endParaRPr>
          </a:p>
          <a:p>
            <a:pPr defTabSz="457200">
              <a:defRPr/>
            </a:pPr>
            <a:r>
              <a:rPr kumimoji="0" lang="en-US" altLang="ja-JP" sz="1200">
                <a:solidFill>
                  <a:srgbClr val="000000"/>
                </a:solidFill>
                <a:latin typeface="Meiryo UI" panose="020B0604030504040204" pitchFamily="50" charset="-128"/>
                <a:ea typeface="Meiryo UI" panose="020B0604030504040204" pitchFamily="50" charset="-128"/>
              </a:rPr>
              <a:t>【</a:t>
            </a:r>
            <a:r>
              <a:rPr kumimoji="0" lang="ja-JP" altLang="en-US" sz="1200">
                <a:solidFill>
                  <a:srgbClr val="000000"/>
                </a:solidFill>
                <a:latin typeface="Meiryo UI" panose="020B0604030504040204" pitchFamily="50" charset="-128"/>
                <a:ea typeface="Meiryo UI" panose="020B0604030504040204" pitchFamily="50" charset="-128"/>
              </a:rPr>
              <a:t>実証詳細</a:t>
            </a:r>
            <a:r>
              <a:rPr kumimoji="0" lang="en-US" altLang="ja-JP" sz="1200">
                <a:solidFill>
                  <a:srgbClr val="000000"/>
                </a:solidFill>
                <a:latin typeface="Meiryo UI" panose="020B0604030504040204" pitchFamily="50" charset="-128"/>
                <a:ea typeface="Meiryo UI" panose="020B0604030504040204" pitchFamily="50" charset="-128"/>
              </a:rPr>
              <a:t>】</a:t>
            </a:r>
            <a:endParaRPr kumimoji="0" lang="ja-JP" altLang="en-US" sz="1200">
              <a:solidFill>
                <a:srgbClr val="000000"/>
              </a:solidFill>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ターゲット</a:t>
            </a:r>
            <a:r>
              <a:rPr kumimoji="0"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1" name="正方形/長方形 1212">
            <a:extLst>
              <a:ext uri="{FF2B5EF4-FFF2-40B4-BE49-F238E27FC236}">
                <a16:creationId xmlns:a16="http://schemas.microsoft.com/office/drawing/2014/main" id="{1DF82616-348D-C35D-3287-CE441D69FEAD}"/>
              </a:ext>
            </a:extLst>
          </p:cNvPr>
          <p:cNvSpPr/>
          <p:nvPr/>
        </p:nvSpPr>
        <p:spPr>
          <a:xfrm>
            <a:off x="130219" y="2329720"/>
            <a:ext cx="1668948" cy="208386"/>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KGI</a:t>
            </a: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と</a:t>
            </a:r>
            <a:r>
              <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KPI</a:t>
            </a: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解決策</a:t>
            </a:r>
          </a:p>
        </p:txBody>
      </p:sp>
      <p:sp>
        <p:nvSpPr>
          <p:cNvPr id="30" name="二等辺三角形 29">
            <a:extLst>
              <a:ext uri="{FF2B5EF4-FFF2-40B4-BE49-F238E27FC236}">
                <a16:creationId xmlns:a16="http://schemas.microsoft.com/office/drawing/2014/main" id="{A1B3DDF5-02D9-2F29-5CDE-223284B4F7E0}"/>
              </a:ext>
            </a:extLst>
          </p:cNvPr>
          <p:cNvSpPr/>
          <p:nvPr/>
        </p:nvSpPr>
        <p:spPr>
          <a:xfrm rot="10800000">
            <a:off x="4057650" y="2054933"/>
            <a:ext cx="1790700" cy="207491"/>
          </a:xfrm>
          <a:prstGeom prst="triangle">
            <a:avLst/>
          </a:prstGeom>
          <a:solidFill>
            <a:schemeClr val="bg2"/>
          </a:solidFill>
          <a:ln w="12700">
            <a:noFill/>
            <a:prstDash val="sysDash"/>
            <a:round/>
            <a:headEnd/>
            <a:tailEnd/>
          </a:ln>
          <a:effectLst/>
        </p:spPr>
        <p:txBody>
          <a:bodyPr vertOverflow="overflow" horzOverflow="overflow" wrap="square" lIns="91422" tIns="45710" rIns="91422" bIns="45710" rtlCol="0" anchor="t" anchorCtr="0"/>
          <a:lstStyle/>
          <a:p>
            <a:pPr marL="1338263" algn="ctr">
              <a:lnSpc>
                <a:spcPct val="130000"/>
              </a:lnSpc>
              <a:tabLst>
                <a:tab pos="3136900" algn="ctr"/>
              </a:tabLst>
            </a:pPr>
            <a:endParaRPr kumimoji="1" lang="ja-JP" altLang="en-US" sz="1200">
              <a:latin typeface="+mj-ea"/>
              <a:ea typeface="+mj-ea"/>
            </a:endParaRPr>
          </a:p>
        </p:txBody>
      </p:sp>
      <p:sp>
        <p:nvSpPr>
          <p:cNvPr id="31" name="正方形/長方形 1210">
            <a:extLst>
              <a:ext uri="{FF2B5EF4-FFF2-40B4-BE49-F238E27FC236}">
                <a16:creationId xmlns:a16="http://schemas.microsoft.com/office/drawing/2014/main" id="{8E39AF90-FF9D-B535-BC3E-EAA6C5CDC147}"/>
              </a:ext>
            </a:extLst>
          </p:cNvPr>
          <p:cNvSpPr/>
          <p:nvPr/>
        </p:nvSpPr>
        <p:spPr>
          <a:xfrm>
            <a:off x="130219" y="5225189"/>
            <a:ext cx="9645558" cy="1223957"/>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R="0" lvl="0" algn="l" defTabSz="457200" rtl="0" eaLnBrk="1" fontAlgn="auto" latinLnBrk="0" hangingPunct="1">
              <a:lnSpc>
                <a:spcPct val="100000"/>
              </a:lnSpc>
              <a:spcBef>
                <a:spcPts val="0"/>
              </a:spcBef>
              <a:spcAft>
                <a:spcPts val="0"/>
              </a:spcAft>
              <a:buClrTx/>
              <a:buSzTx/>
              <a:tabLst/>
              <a:defRPr/>
            </a:pPr>
            <a:r>
              <a:rPr kumimoji="0" lang="en-US" altLang="ja-JP" sz="1200" dirty="0">
                <a:solidFill>
                  <a:schemeClr val="tx1"/>
                </a:solidFill>
                <a:latin typeface="Meiryo UI" panose="020B0604030504040204" pitchFamily="50" charset="-128"/>
                <a:ea typeface="Meiryo UI" panose="020B0604030504040204" pitchFamily="50" charset="-128"/>
              </a:rPr>
              <a:t>【</a:t>
            </a:r>
            <a:r>
              <a:rPr kumimoji="0" lang="ja-JP" altLang="en-US" sz="1200" dirty="0">
                <a:solidFill>
                  <a:schemeClr val="tx1"/>
                </a:solidFill>
                <a:latin typeface="Meiryo UI" panose="020B0604030504040204" pitchFamily="50" charset="-128"/>
                <a:ea typeface="Meiryo UI" panose="020B0604030504040204" pitchFamily="50" charset="-128"/>
              </a:rPr>
              <a:t>事業実施体制</a:t>
            </a:r>
            <a:r>
              <a:rPr kumimoji="0" lang="en-US" altLang="ja-JP" sz="1200" dirty="0">
                <a:solidFill>
                  <a:schemeClr val="tx1"/>
                </a:solidFill>
                <a:latin typeface="Meiryo UI" panose="020B0604030504040204" pitchFamily="50" charset="-128"/>
                <a:ea typeface="Meiryo UI" panose="020B0604030504040204" pitchFamily="50" charset="-128"/>
              </a:rPr>
              <a:t>】</a:t>
            </a:r>
          </a:p>
          <a:p>
            <a:pPr marR="0" lvl="0" algn="l" defTabSz="457200" rtl="0" eaLnBrk="1" fontAlgn="auto" latinLnBrk="0" hangingPunct="1">
              <a:lnSpc>
                <a:spcPct val="100000"/>
              </a:lnSpc>
              <a:spcBef>
                <a:spcPts val="0"/>
              </a:spcBef>
              <a:spcAft>
                <a:spcPts val="0"/>
              </a:spcAft>
              <a:buClrTx/>
              <a:buSzTx/>
              <a:tabLst/>
              <a:defRPr/>
            </a:pPr>
            <a:r>
              <a:rPr kumimoji="0" lang="ja-JP" altLang="en-US" sz="1200" dirty="0">
                <a:solidFill>
                  <a:srgbClr val="0070C0"/>
                </a:solidFill>
                <a:latin typeface="Meiryo UI" panose="020B0604030504040204" pitchFamily="50" charset="-128"/>
                <a:ea typeface="Meiryo UI" panose="020B0604030504040204" pitchFamily="50" charset="-128"/>
              </a:rPr>
              <a:t>記載例：本事業では、～～（地域内の関係者）と連携し～～に取り組む。</a:t>
            </a:r>
            <a:endParaRPr kumimoji="0" lang="en-US" altLang="ja-JP" sz="1200" dirty="0">
              <a:solidFill>
                <a:srgbClr val="0070C0"/>
              </a:solidFill>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en-US" altLang="ja-JP" sz="1200" dirty="0">
                <a:solidFill>
                  <a:schemeClr val="tx1"/>
                </a:solidFill>
                <a:latin typeface="Meiryo UI" panose="020B0604030504040204" pitchFamily="50" charset="-128"/>
                <a:ea typeface="Meiryo UI" panose="020B0604030504040204" pitchFamily="50" charset="-128"/>
              </a:rPr>
              <a:t>【</a:t>
            </a:r>
            <a:r>
              <a:rPr kumimoji="0" lang="ja-JP" altLang="en-US" sz="1200" dirty="0">
                <a:solidFill>
                  <a:schemeClr val="tx1"/>
                </a:solidFill>
                <a:latin typeface="Meiryo UI" panose="020B0604030504040204" pitchFamily="50" charset="-128"/>
                <a:ea typeface="Meiryo UI" panose="020B0604030504040204" pitchFamily="50" charset="-128"/>
              </a:rPr>
              <a:t>地域活性化・観光誘客等の実績</a:t>
            </a:r>
            <a:r>
              <a:rPr kumimoji="0" lang="en-US" altLang="ja-JP" sz="1200" dirty="0">
                <a:solidFill>
                  <a:schemeClr val="tx1"/>
                </a:solidFill>
                <a:latin typeface="Meiryo UI" panose="020B0604030504040204" pitchFamily="50" charset="-128"/>
                <a:ea typeface="Meiryo UI" panose="020B0604030504040204" pitchFamily="50" charset="-128"/>
              </a:rPr>
              <a:t>】</a:t>
            </a:r>
          </a:p>
          <a:p>
            <a:pPr defTabSz="457200">
              <a:defRPr/>
            </a:pPr>
            <a:r>
              <a:rPr kumimoji="0" lang="ja-JP" altLang="en-US" sz="1200" dirty="0">
                <a:solidFill>
                  <a:srgbClr val="0070C0"/>
                </a:solidFill>
                <a:latin typeface="Meiryo UI" panose="020B0604030504040204" pitchFamily="50" charset="-128"/>
                <a:ea typeface="Meiryo UI" panose="020B0604030504040204" pitchFamily="50" charset="-128"/>
              </a:rPr>
              <a:t>記載例：～～（年月）において、～～（デジタル技術や</a:t>
            </a:r>
            <a:r>
              <a:rPr kumimoji="0" lang="en-US" altLang="ja-JP" sz="1200" dirty="0">
                <a:solidFill>
                  <a:srgbClr val="0070C0"/>
                </a:solidFill>
                <a:latin typeface="Meiryo UI" panose="020B0604030504040204" pitchFamily="50" charset="-128"/>
                <a:ea typeface="Meiryo UI" panose="020B0604030504040204" pitchFamily="50" charset="-128"/>
              </a:rPr>
              <a:t>DX</a:t>
            </a:r>
            <a:r>
              <a:rPr kumimoji="0" lang="ja-JP" altLang="en-US" sz="1200" dirty="0">
                <a:solidFill>
                  <a:srgbClr val="0070C0"/>
                </a:solidFill>
                <a:latin typeface="Meiryo UI" panose="020B0604030504040204" pitchFamily="50" charset="-128"/>
                <a:ea typeface="Meiryo UI" panose="020B0604030504040204" pitchFamily="50" charset="-128"/>
              </a:rPr>
              <a:t>推進を含む取組等）を行い、～～という結果となった。</a:t>
            </a:r>
            <a:endParaRPr kumimoji="0" lang="en-US" altLang="ja-JP" sz="1200" dirty="0">
              <a:solidFill>
                <a:srgbClr val="0070C0"/>
              </a:solidFill>
              <a:latin typeface="Meiryo UI" panose="020B0604030504040204" pitchFamily="50" charset="-128"/>
              <a:ea typeface="Meiryo UI" panose="020B0604030504040204" pitchFamily="50" charset="-128"/>
            </a:endParaRPr>
          </a:p>
        </p:txBody>
      </p:sp>
      <p:sp>
        <p:nvSpPr>
          <p:cNvPr id="32" name="正方形/長方形 1212">
            <a:extLst>
              <a:ext uri="{FF2B5EF4-FFF2-40B4-BE49-F238E27FC236}">
                <a16:creationId xmlns:a16="http://schemas.microsoft.com/office/drawing/2014/main" id="{44A23ECC-6C4F-5D85-CC66-2F0C43F89002}"/>
              </a:ext>
            </a:extLst>
          </p:cNvPr>
          <p:cNvSpPr/>
          <p:nvPr/>
        </p:nvSpPr>
        <p:spPr>
          <a:xfrm>
            <a:off x="130218" y="5225189"/>
            <a:ext cx="1668948" cy="208386"/>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事業実施体制等</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9" name="吹き出し: 四角形 18">
            <a:extLst>
              <a:ext uri="{FF2B5EF4-FFF2-40B4-BE49-F238E27FC236}">
                <a16:creationId xmlns:a16="http://schemas.microsoft.com/office/drawing/2014/main" id="{ECC6BDDA-908F-5CA8-E339-604658B46850}"/>
              </a:ext>
            </a:extLst>
          </p:cNvPr>
          <p:cNvSpPr/>
          <p:nvPr/>
        </p:nvSpPr>
        <p:spPr>
          <a:xfrm>
            <a:off x="-3721395" y="2054933"/>
            <a:ext cx="3602846" cy="3518553"/>
          </a:xfrm>
          <a:prstGeom prst="wedgeRectCallout">
            <a:avLst>
              <a:gd name="adj1" fmla="val 64946"/>
              <a:gd name="adj2" fmla="val 44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defTabSz="457200">
              <a:defRPr/>
            </a:pPr>
            <a:r>
              <a:rPr kumimoji="0" lang="ja-JP" altLang="en-US" sz="1400" kern="0" dirty="0">
                <a:solidFill>
                  <a:prstClr val="black"/>
                </a:solidFill>
                <a:latin typeface="Meiryo UI" panose="020B0604030504040204" pitchFamily="50" charset="-128"/>
                <a:ea typeface="Meiryo UI" panose="020B0604030504040204" pitchFamily="50" charset="-128"/>
              </a:rPr>
              <a:t>解決策は、</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指す姿の実現に向けて課題解決に取り組むにあたり、必要な解決策・打ち手を示してください。</a:t>
            </a:r>
          </a:p>
          <a:p>
            <a:pPr marL="0" marR="0" lvl="0" indent="0" defTabSz="4572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概要</a:t>
            </a:r>
            <a: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の概要を簡潔に記載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defTabSz="457200">
              <a:defRPr/>
            </a:pPr>
            <a:r>
              <a:rPr kumimoji="0" lang="en-US" altLang="ja-JP" sz="1400" kern="0" dirty="0">
                <a:solidFill>
                  <a:prstClr val="black"/>
                </a:solidFill>
                <a:latin typeface="Meiryo UI" panose="020B0604030504040204" pitchFamily="50" charset="-128"/>
                <a:ea typeface="Meiryo UI" panose="020B0604030504040204" pitchFamily="50" charset="-128"/>
              </a:rPr>
              <a:t>【KGI</a:t>
            </a:r>
            <a:r>
              <a:rPr kumimoji="0" lang="ja-JP" altLang="en-US" sz="1400" kern="0" dirty="0">
                <a:solidFill>
                  <a:prstClr val="black"/>
                </a:solidFill>
                <a:latin typeface="Meiryo UI" panose="020B0604030504040204" pitchFamily="50" charset="-128"/>
                <a:ea typeface="Meiryo UI" panose="020B0604030504040204" pitchFamily="50" charset="-128"/>
              </a:rPr>
              <a:t>・</a:t>
            </a:r>
            <a:r>
              <a:rPr kumimoji="0" lang="en-US" altLang="ja-JP" sz="1400" kern="0" dirty="0">
                <a:solidFill>
                  <a:prstClr val="black"/>
                </a:solidFill>
                <a:latin typeface="Meiryo UI" panose="020B0604030504040204" pitchFamily="50" charset="-128"/>
                <a:ea typeface="Meiryo UI" panose="020B0604030504040204" pitchFamily="50" charset="-128"/>
              </a:rPr>
              <a:t>KPI】</a:t>
            </a:r>
            <a:r>
              <a:rPr kumimoji="0" lang="ja-JP" altLang="en-US" sz="1400" kern="0" dirty="0">
                <a:solidFill>
                  <a:prstClr val="black"/>
                </a:solidFill>
                <a:latin typeface="Meiryo UI" panose="020B0604030504040204" pitchFamily="50" charset="-128"/>
                <a:ea typeface="Meiryo UI" panose="020B0604030504040204" pitchFamily="50" charset="-128"/>
              </a:rPr>
              <a:t>：本実証事業の目標値となる</a:t>
            </a:r>
            <a:r>
              <a:rPr kumimoji="0" lang="en-US" altLang="ja-JP" sz="1400" kern="0" dirty="0">
                <a:solidFill>
                  <a:prstClr val="black"/>
                </a:solidFill>
                <a:latin typeface="Meiryo UI" panose="020B0604030504040204" pitchFamily="50" charset="-128"/>
                <a:ea typeface="Meiryo UI" panose="020B0604030504040204" pitchFamily="50" charset="-128"/>
              </a:rPr>
              <a:t>KGI</a:t>
            </a:r>
            <a:r>
              <a:rPr kumimoji="0" lang="ja-JP" altLang="en-US" sz="1400" kern="0" dirty="0">
                <a:solidFill>
                  <a:prstClr val="black"/>
                </a:solidFill>
                <a:latin typeface="Meiryo UI" panose="020B0604030504040204" pitchFamily="50" charset="-128"/>
                <a:ea typeface="Meiryo UI" panose="020B0604030504040204" pitchFamily="50" charset="-128"/>
              </a:rPr>
              <a:t>やその進捗を定量的に把握するための観測指標となる</a:t>
            </a:r>
            <a:r>
              <a:rPr kumimoji="0" lang="en-US" altLang="ja-JP" sz="1400" kern="0" dirty="0">
                <a:solidFill>
                  <a:prstClr val="black"/>
                </a:solidFill>
                <a:latin typeface="Meiryo UI" panose="020B0604030504040204" pitchFamily="50" charset="-128"/>
                <a:ea typeface="Meiryo UI" panose="020B0604030504040204" pitchFamily="50" charset="-128"/>
              </a:rPr>
              <a:t>KPI</a:t>
            </a:r>
            <a:r>
              <a:rPr kumimoji="0" lang="ja-JP" altLang="en-US" sz="1400" kern="0" dirty="0">
                <a:solidFill>
                  <a:prstClr val="black"/>
                </a:solidFill>
                <a:latin typeface="Meiryo UI" panose="020B0604030504040204" pitchFamily="50" charset="-128"/>
                <a:ea typeface="Meiryo UI" panose="020B0604030504040204" pitchFamily="50" charset="-128"/>
              </a:rPr>
              <a:t>を示してください。</a:t>
            </a:r>
          </a:p>
          <a:p>
            <a:pPr defTabSz="457200">
              <a:defRPr/>
            </a:pPr>
            <a:r>
              <a:rPr kumimoji="0" lang="en-US" altLang="ja-JP" sz="1400" kern="0" dirty="0">
                <a:solidFill>
                  <a:prstClr val="black"/>
                </a:solidFill>
                <a:latin typeface="Meiryo UI" panose="020B0604030504040204" pitchFamily="50" charset="-128"/>
                <a:ea typeface="Meiryo UI" panose="020B0604030504040204" pitchFamily="50" charset="-128"/>
              </a:rPr>
              <a:t>【</a:t>
            </a:r>
            <a:r>
              <a:rPr kumimoji="0" lang="ja-JP" altLang="en-US" sz="1400" kern="0" dirty="0">
                <a:solidFill>
                  <a:prstClr val="black"/>
                </a:solidFill>
                <a:latin typeface="Meiryo UI" panose="020B0604030504040204" pitchFamily="50" charset="-128"/>
                <a:ea typeface="Meiryo UI" panose="020B0604030504040204" pitchFamily="50" charset="-128"/>
              </a:rPr>
              <a:t>実証詳細</a:t>
            </a:r>
            <a:r>
              <a:rPr kumimoji="0" lang="en-US" altLang="ja-JP" sz="1400" kern="0" dirty="0">
                <a:solidFill>
                  <a:prstClr val="black"/>
                </a:solidFill>
                <a:latin typeface="Meiryo UI" panose="020B0604030504040204" pitchFamily="50" charset="-128"/>
                <a:ea typeface="Meiryo UI" panose="020B0604030504040204" pitchFamily="50" charset="-128"/>
              </a:rPr>
              <a:t>】</a:t>
            </a:r>
            <a:r>
              <a:rPr kumimoji="0" lang="ja-JP" altLang="en-US" sz="1400" kern="0" dirty="0">
                <a:solidFill>
                  <a:prstClr val="black"/>
                </a:solidFill>
                <a:latin typeface="Meiryo UI" panose="020B0604030504040204" pitchFamily="50" charset="-128"/>
                <a:ea typeface="Meiryo UI" panose="020B0604030504040204" pitchFamily="50" charset="-128"/>
              </a:rPr>
              <a:t>：課題解決に取り組むにあたり、デジタル技術等を活用した施策・サービスについて具体的に記載してください。また、内容を補足する画像や写真を掲載してください。</a:t>
            </a:r>
            <a:endParaRPr kumimoji="0" lang="en-US" altLang="ja-JP" sz="1400" kern="0" dirty="0">
              <a:solidFill>
                <a:prstClr val="black"/>
              </a:solidFill>
              <a:latin typeface="Meiryo UI" panose="020B0604030504040204" pitchFamily="50" charset="-128"/>
              <a:ea typeface="Meiryo UI" panose="020B0604030504040204" pitchFamily="50" charset="-128"/>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1400" kern="0" dirty="0">
                <a:solidFill>
                  <a:prstClr val="black"/>
                </a:solidFill>
                <a:latin typeface="Meiryo UI" panose="020B0604030504040204" pitchFamily="50" charset="-128"/>
                <a:ea typeface="Meiryo UI" panose="020B0604030504040204" pitchFamily="50" charset="-128"/>
              </a:rPr>
              <a:t>【</a:t>
            </a:r>
            <a:r>
              <a:rPr kumimoji="0" lang="ja-JP" altLang="en-US" sz="1400" kern="0" dirty="0">
                <a:solidFill>
                  <a:prstClr val="black"/>
                </a:solidFill>
                <a:latin typeface="Meiryo UI" panose="020B0604030504040204" pitchFamily="50" charset="-128"/>
                <a:ea typeface="Meiryo UI" panose="020B0604030504040204" pitchFamily="50" charset="-128"/>
              </a:rPr>
              <a:t>ターゲット</a:t>
            </a:r>
            <a:r>
              <a:rPr kumimoji="0" lang="en-US" altLang="ja-JP" sz="1400" kern="0" dirty="0">
                <a:solidFill>
                  <a:prstClr val="black"/>
                </a:solidFill>
                <a:latin typeface="Meiryo UI" panose="020B0604030504040204" pitchFamily="50" charset="-128"/>
                <a:ea typeface="Meiryo UI" panose="020B0604030504040204" pitchFamily="50" charset="-128"/>
              </a:rPr>
              <a:t>】</a:t>
            </a:r>
            <a:r>
              <a:rPr kumimoji="0" lang="ja-JP" altLang="en-US" sz="1400" kern="0" dirty="0">
                <a:solidFill>
                  <a:prstClr val="black"/>
                </a:solidFill>
                <a:latin typeface="Meiryo UI" panose="020B0604030504040204" pitchFamily="50" charset="-128"/>
                <a:ea typeface="Meiryo UI" panose="020B0604030504040204" pitchFamily="50" charset="-128"/>
              </a:rPr>
              <a:t>：事業で取り組む施策・サービスのターゲットを記載してください。</a:t>
            </a:r>
            <a:endParaRPr kumimoji="0" lang="en-US" altLang="ja-JP" sz="1400" kern="0" dirty="0">
              <a:solidFill>
                <a:prstClr val="black"/>
              </a:solidFill>
              <a:latin typeface="Meiryo UI" panose="020B0604030504040204" pitchFamily="50" charset="-128"/>
              <a:ea typeface="Meiryo UI" panose="020B0604030504040204" pitchFamily="50" charset="-128"/>
            </a:endParaRPr>
          </a:p>
        </p:txBody>
      </p:sp>
      <p:sp>
        <p:nvSpPr>
          <p:cNvPr id="26" name="吹き出し: 四角形 25">
            <a:extLst>
              <a:ext uri="{FF2B5EF4-FFF2-40B4-BE49-F238E27FC236}">
                <a16:creationId xmlns:a16="http://schemas.microsoft.com/office/drawing/2014/main" id="{C9D2C943-A440-AF2E-41EF-A70AB7B6DEFD}"/>
              </a:ext>
            </a:extLst>
          </p:cNvPr>
          <p:cNvSpPr/>
          <p:nvPr/>
        </p:nvSpPr>
        <p:spPr>
          <a:xfrm>
            <a:off x="10024108" y="701499"/>
            <a:ext cx="3171192" cy="1163651"/>
          </a:xfrm>
          <a:prstGeom prst="wedgeRectCallout">
            <a:avLst>
              <a:gd name="adj1" fmla="val -62975"/>
              <a:gd name="adj2" fmla="val 7008"/>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現状・課題は、取組エリアにおける現状（申請する地域等が有する観光資源・これまでの</a:t>
            </a:r>
            <a:r>
              <a:rPr kumimoji="0" lang="ja-JP" altLang="en-US" sz="1400" kern="0">
                <a:solidFill>
                  <a:prstClr val="black"/>
                </a:solidFill>
                <a:latin typeface="Meiryo UI" panose="020B0604030504040204" pitchFamily="50" charset="-128"/>
                <a:ea typeface="Meiryo UI" panose="020B0604030504040204" pitchFamily="50" charset="-128"/>
              </a:rPr>
              <a:t>関連する</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取組等）</a:t>
            </a:r>
            <a:r>
              <a:rPr kumimoji="0" lang="ja-JP" altLang="en-US" sz="1400" kern="0">
                <a:solidFill>
                  <a:prstClr val="black"/>
                </a:solidFill>
                <a:latin typeface="Meiryo UI" panose="020B0604030504040204" pitchFamily="50" charset="-128"/>
                <a:ea typeface="Meiryo UI" panose="020B0604030504040204" pitchFamily="50" charset="-128"/>
              </a:rPr>
              <a:t>、</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目指す姿の実現に向けて解決すべき課題を</a:t>
            </a:r>
            <a:r>
              <a:rPr kumimoji="0" lang="ja-JP" altLang="en-US" sz="1400" kern="0">
                <a:solidFill>
                  <a:prstClr val="black"/>
                </a:solidFill>
                <a:latin typeface="Meiryo UI" panose="020B0604030504040204" pitchFamily="50" charset="-128"/>
                <a:ea typeface="Meiryo UI" panose="020B0604030504040204" pitchFamily="50" charset="-128"/>
              </a:rPr>
              <a:t>示してください。</a:t>
            </a:r>
            <a:endPar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吹き出し: 四角形 32">
            <a:extLst>
              <a:ext uri="{FF2B5EF4-FFF2-40B4-BE49-F238E27FC236}">
                <a16:creationId xmlns:a16="http://schemas.microsoft.com/office/drawing/2014/main" id="{DA5CFE94-E10B-F128-25A7-513B0888F3EB}"/>
              </a:ext>
            </a:extLst>
          </p:cNvPr>
          <p:cNvSpPr/>
          <p:nvPr/>
        </p:nvSpPr>
        <p:spPr>
          <a:xfrm>
            <a:off x="-3338608" y="994151"/>
            <a:ext cx="3119577" cy="903313"/>
          </a:xfrm>
          <a:prstGeom prst="wedgeRectCallout">
            <a:avLst>
              <a:gd name="adj1" fmla="val 62190"/>
              <a:gd name="adj2" fmla="val 8286"/>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目指す姿は、</a:t>
            </a:r>
            <a:r>
              <a:rPr kumimoji="0" lang="ja-JP" altLang="en-US" sz="1400" kern="0">
                <a:solidFill>
                  <a:prstClr val="black"/>
                </a:solidFill>
                <a:latin typeface="Meiryo UI" panose="020B0604030504040204" pitchFamily="50" charset="-128"/>
                <a:ea typeface="Meiryo UI" panose="020B0604030504040204" pitchFamily="50" charset="-128"/>
              </a:rPr>
              <a:t>観光地・観光産業</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において、本実証事業や関連する事業等を通じて、実現したい姿を示してください。</a:t>
            </a:r>
          </a:p>
        </p:txBody>
      </p:sp>
      <p:sp>
        <p:nvSpPr>
          <p:cNvPr id="35" name="正方形/長方形 34">
            <a:extLst>
              <a:ext uri="{FF2B5EF4-FFF2-40B4-BE49-F238E27FC236}">
                <a16:creationId xmlns:a16="http://schemas.microsoft.com/office/drawing/2014/main" id="{59BE06A7-AFE6-C643-7624-696E840439E0}"/>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ja-JP" altLang="en-US" sz="1400" b="1">
                <a:latin typeface="Meiryo UI" panose="020B0604030504040204" pitchFamily="50" charset="-128"/>
                <a:ea typeface="Meiryo UI" panose="020B0604030504040204" pitchFamily="50" charset="-128"/>
              </a:rPr>
              <a:t>様式１：事業概要説明書</a:t>
            </a:r>
          </a:p>
        </p:txBody>
      </p:sp>
      <p:sp>
        <p:nvSpPr>
          <p:cNvPr id="36" name="吹き出し: 四角形 35">
            <a:extLst>
              <a:ext uri="{FF2B5EF4-FFF2-40B4-BE49-F238E27FC236}">
                <a16:creationId xmlns:a16="http://schemas.microsoft.com/office/drawing/2014/main" id="{82E076A6-A930-A7A1-3F98-4958A5B35871}"/>
              </a:ext>
            </a:extLst>
          </p:cNvPr>
          <p:cNvSpPr/>
          <p:nvPr/>
        </p:nvSpPr>
        <p:spPr>
          <a:xfrm>
            <a:off x="-3821877" y="5799614"/>
            <a:ext cx="3602846" cy="1299064"/>
          </a:xfrm>
          <a:prstGeom prst="wedgeRectCallout">
            <a:avLst>
              <a:gd name="adj1" fmla="val 64772"/>
              <a:gd name="adj2" fmla="val -23929"/>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実施体制について、地域内の関係者との連携、施策・サービスの運用体制等を簡潔に記載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また、デジタル技術や</a:t>
            </a:r>
            <a: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X</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推進を含む地域活性化や観光誘客等の事業実績を示してください。</a:t>
            </a:r>
          </a:p>
        </p:txBody>
      </p:sp>
      <p:sp>
        <p:nvSpPr>
          <p:cNvPr id="6" name="吹き出し: 四角形 5">
            <a:extLst>
              <a:ext uri="{FF2B5EF4-FFF2-40B4-BE49-F238E27FC236}">
                <a16:creationId xmlns:a16="http://schemas.microsoft.com/office/drawing/2014/main" id="{F5C6CC77-878A-5EC6-1ADD-7A77CB42269A}"/>
              </a:ext>
            </a:extLst>
          </p:cNvPr>
          <p:cNvSpPr/>
          <p:nvPr/>
        </p:nvSpPr>
        <p:spPr>
          <a:xfrm>
            <a:off x="2759294" y="-196546"/>
            <a:ext cx="2596711" cy="346473"/>
          </a:xfrm>
          <a:prstGeom prst="wedgeRectCallout">
            <a:avLst>
              <a:gd name="adj1" fmla="val -60005"/>
              <a:gd name="adj2" fmla="val 52678"/>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kern="0" dirty="0">
                <a:solidFill>
                  <a:prstClr val="black"/>
                </a:solidFill>
                <a:latin typeface="Meiryo UI" panose="020B0604030504040204" pitchFamily="50" charset="-128"/>
                <a:ea typeface="Meiryo UI" panose="020B0604030504040204" pitchFamily="50" charset="-128"/>
              </a:rPr>
              <a:t>実証事業名を記入してください。</a:t>
            </a:r>
            <a:endPar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テキスト ボックス 7">
            <a:extLst>
              <a:ext uri="{FF2B5EF4-FFF2-40B4-BE49-F238E27FC236}">
                <a16:creationId xmlns:a16="http://schemas.microsoft.com/office/drawing/2014/main" id="{018CB40D-7435-8233-D41D-DA94B7537D9E}"/>
              </a:ext>
            </a:extLst>
          </p:cNvPr>
          <p:cNvSpPr txBox="1"/>
          <p:nvPr/>
        </p:nvSpPr>
        <p:spPr>
          <a:xfrm>
            <a:off x="6441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様式１：事業概要説明書</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endPar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9" name="スライド番号プレースホルダー 67">
            <a:extLst>
              <a:ext uri="{FF2B5EF4-FFF2-40B4-BE49-F238E27FC236}">
                <a16:creationId xmlns:a16="http://schemas.microsoft.com/office/drawing/2014/main" id="{2EEEFBD6-0E7F-8E96-9780-4ECD3EB5D765}"/>
              </a:ext>
            </a:extLst>
          </p:cNvPr>
          <p:cNvSpPr txBox="1">
            <a:spLocks/>
          </p:cNvSpPr>
          <p:nvPr/>
        </p:nvSpPr>
        <p:spPr>
          <a:xfrm>
            <a:off x="9671768" y="6601094"/>
            <a:ext cx="277777" cy="2743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marL="0" algn="ctr" defTabSz="914400" rtl="0" eaLnBrk="1" latinLnBrk="0" hangingPunct="1">
              <a:defRPr kumimoji="1" sz="1400" kern="1200">
                <a:solidFill>
                  <a:schemeClr val="tx1"/>
                </a:solidFill>
                <a:latin typeface="Arial" charset="0"/>
                <a:ea typeface="ＭＳ Ｐゴシック"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457200">
              <a:defRPr/>
            </a:pPr>
            <a:fld id="{AA5FCFE5-FE56-4EF1-80A8-07776887C2A1}" type="slidenum">
              <a:rPr kumimoji="0" lang="ja-JP" altLang="en-US" sz="1200" smtClean="0">
                <a:solidFill>
                  <a:prstClr val="black"/>
                </a:solidFill>
                <a:latin typeface="Meiryo UI" panose="020B0604030504040204" pitchFamily="50" charset="-128"/>
                <a:ea typeface="Meiryo UI" panose="020B0604030504040204" pitchFamily="50" charset="-128"/>
                <a:sym typeface="+mn-lt"/>
              </a:rPr>
              <a:pPr defTabSz="457200">
                <a:defRPr/>
              </a:pPr>
              <a:t>1</a:t>
            </a:fld>
            <a:endParaRPr kumimoji="0" lang="ja-JP" altLang="en-US" sz="1200" dirty="0">
              <a:solidFill>
                <a:prstClr val="black"/>
              </a:solidFill>
              <a:latin typeface="Meiryo UI" panose="020B0604030504040204" pitchFamily="50" charset="-128"/>
              <a:ea typeface="Meiryo UI" panose="020B0604030504040204" pitchFamily="50" charset="-128"/>
              <a:sym typeface="+mn-lt"/>
            </a:endParaRPr>
          </a:p>
        </p:txBody>
      </p:sp>
    </p:spTree>
    <p:extLst>
      <p:ext uri="{BB962C8B-B14F-4D97-AF65-F5344CB8AC3E}">
        <p14:creationId xmlns:p14="http://schemas.microsoft.com/office/powerpoint/2010/main" val="308269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2</a:t>
            </a:fld>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graphicFrame>
        <p:nvGraphicFramePr>
          <p:cNvPr id="16" name="表 15">
            <a:extLst>
              <a:ext uri="{FF2B5EF4-FFF2-40B4-BE49-F238E27FC236}">
                <a16:creationId xmlns:a16="http://schemas.microsoft.com/office/drawing/2014/main" id="{D7412503-06E7-7C72-B502-8404C47CEE70}"/>
              </a:ext>
            </a:extLst>
          </p:cNvPr>
          <p:cNvGraphicFramePr>
            <a:graphicFrameLocks noGrp="1"/>
          </p:cNvGraphicFramePr>
          <p:nvPr>
            <p:extLst>
              <p:ext uri="{D42A27DB-BD31-4B8C-83A1-F6EECF244321}">
                <p14:modId xmlns:p14="http://schemas.microsoft.com/office/powerpoint/2010/main" val="4013979372"/>
              </p:ext>
            </p:extLst>
          </p:nvPr>
        </p:nvGraphicFramePr>
        <p:xfrm>
          <a:off x="253111" y="2384981"/>
          <a:ext cx="9399776" cy="4262400"/>
        </p:xfrm>
        <a:graphic>
          <a:graphicData uri="http://schemas.openxmlformats.org/drawingml/2006/table">
            <a:tbl>
              <a:tblPr firstRow="1" bandRow="1">
                <a:tableStyleId>{2D5ABB26-0587-4C30-8999-92F81FD0307C}</a:tableStyleId>
              </a:tblPr>
              <a:tblGrid>
                <a:gridCol w="2349944">
                  <a:extLst>
                    <a:ext uri="{9D8B030D-6E8A-4147-A177-3AD203B41FA5}">
                      <a16:colId xmlns:a16="http://schemas.microsoft.com/office/drawing/2014/main" val="1994932697"/>
                    </a:ext>
                  </a:extLst>
                </a:gridCol>
                <a:gridCol w="2349944">
                  <a:extLst>
                    <a:ext uri="{9D8B030D-6E8A-4147-A177-3AD203B41FA5}">
                      <a16:colId xmlns:a16="http://schemas.microsoft.com/office/drawing/2014/main" val="2937036071"/>
                    </a:ext>
                  </a:extLst>
                </a:gridCol>
                <a:gridCol w="2349944">
                  <a:extLst>
                    <a:ext uri="{9D8B030D-6E8A-4147-A177-3AD203B41FA5}">
                      <a16:colId xmlns:a16="http://schemas.microsoft.com/office/drawing/2014/main" val="403390685"/>
                    </a:ext>
                  </a:extLst>
                </a:gridCol>
                <a:gridCol w="2349944">
                  <a:extLst>
                    <a:ext uri="{9D8B030D-6E8A-4147-A177-3AD203B41FA5}">
                      <a16:colId xmlns:a16="http://schemas.microsoft.com/office/drawing/2014/main" val="3681865520"/>
                    </a:ext>
                  </a:extLst>
                </a:gridCol>
              </a:tblGrid>
              <a:tr h="0">
                <a:tc gridSpan="4">
                  <a:txBody>
                    <a:bodyPr/>
                    <a:lstStyle/>
                    <a:p>
                      <a:r>
                        <a:rPr kumimoji="1" lang="ja-JP" altLang="en-US" sz="1200" b="1">
                          <a:solidFill>
                            <a:schemeClr val="bg1"/>
                          </a:solidFill>
                          <a:latin typeface="Meiryo UI" panose="020B0604030504040204" pitchFamily="50" charset="-128"/>
                          <a:ea typeface="Meiryo UI" panose="020B0604030504040204" pitchFamily="50" charset="-128"/>
                        </a:rPr>
                        <a:t>代表企業等以外の企業等</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18000" marR="18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18000" marR="18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en-US" altLang="ja-JP" sz="1200">
                        <a:solidFill>
                          <a:schemeClr val="tx1"/>
                        </a:solidFill>
                        <a:latin typeface="Meiryo UI" panose="020B0604030504040204" pitchFamily="50" charset="-128"/>
                        <a:ea typeface="Meiryo UI" panose="020B0604030504040204" pitchFamily="50" charset="-128"/>
                      </a:endParaRPr>
                    </a:p>
                  </a:txBody>
                  <a:tcPr marL="18000" marR="18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5724832"/>
                  </a:ext>
                </a:extLst>
              </a:tr>
              <a:tr h="0">
                <a:tc>
                  <a:txBody>
                    <a:bodyPr/>
                    <a:lstStyle/>
                    <a:p>
                      <a:r>
                        <a:rPr kumimoji="1" lang="ja-JP" altLang="en-US" sz="1200">
                          <a:solidFill>
                            <a:schemeClr val="tx1"/>
                          </a:solidFill>
                          <a:latin typeface="Meiryo UI" panose="020B0604030504040204" pitchFamily="50" charset="-128"/>
                          <a:ea typeface="Meiryo UI" panose="020B0604030504040204" pitchFamily="50" charset="-128"/>
                        </a:rPr>
                        <a:t>事業における役割</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企業等</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代表者（所属・役職・氏名）</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担当者（所属・役職・氏名）</a:t>
                      </a:r>
                      <a:endParaRPr kumimoji="1" lang="en-US" altLang="ja-JP"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53075620"/>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0596416"/>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273366"/>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5727576"/>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78457235"/>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5432567"/>
                  </a:ext>
                </a:extLst>
              </a:tr>
              <a:tr h="111047">
                <a:tc gridSpan="4">
                  <a:txBody>
                    <a:bodyPr/>
                    <a:lstStyle/>
                    <a:p>
                      <a:pPr algn="l"/>
                      <a:r>
                        <a:rPr lang="ja-JP" altLang="en-US" sz="12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経理担当予定者</a:t>
                      </a:r>
                      <a:endParaRPr lang="ja-JP" sz="12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8465842"/>
                  </a:ext>
                </a:extLst>
              </a:tr>
              <a:tr h="133444">
                <a:tc gridSpan="4">
                  <a:txBody>
                    <a:bodyPr/>
                    <a:lstStyle/>
                    <a:p>
                      <a:pPr algn="l"/>
                      <a:r>
                        <a:rPr lang="ja-JP"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主担当</a:t>
                      </a:r>
                      <a:r>
                        <a:rPr lang="ja-JP" altLang="en-US"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所属・役職・氏名、支援金業務や受託業務の経理の実績や年数等）</a:t>
                      </a:r>
                      <a:endParaRPr lang="en-US" altLang="ja-JP"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副担当</a:t>
                      </a:r>
                      <a:r>
                        <a:rPr lang="ja-JP" altLang="en-US"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所属・役職・氏名、支援金業務や受託業務の経理の実績や年数等）</a:t>
                      </a:r>
                      <a:endParaRPr lang="en-US" altLang="ja-JP"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6040568"/>
                  </a:ext>
                </a:extLst>
              </a:tr>
            </a:tbl>
          </a:graphicData>
        </a:graphic>
      </p:graphicFrame>
      <p:sp>
        <p:nvSpPr>
          <p:cNvPr id="3" name="テキスト ボックス 2">
            <a:extLst>
              <a:ext uri="{FF2B5EF4-FFF2-40B4-BE49-F238E27FC236}">
                <a16:creationId xmlns:a16="http://schemas.microsoft.com/office/drawing/2014/main" id="{62847267-A336-282E-500A-E342127DE8DE}"/>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２：企業等概要書</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10" name="表 9">
            <a:extLst>
              <a:ext uri="{FF2B5EF4-FFF2-40B4-BE49-F238E27FC236}">
                <a16:creationId xmlns:a16="http://schemas.microsoft.com/office/drawing/2014/main" id="{8EAE7638-D2D0-F32C-2926-E5FCCF530DE0}"/>
              </a:ext>
            </a:extLst>
          </p:cNvPr>
          <p:cNvGraphicFramePr>
            <a:graphicFrameLocks noGrp="1"/>
          </p:cNvGraphicFramePr>
          <p:nvPr>
            <p:extLst>
              <p:ext uri="{D42A27DB-BD31-4B8C-83A1-F6EECF244321}">
                <p14:modId xmlns:p14="http://schemas.microsoft.com/office/powerpoint/2010/main" val="3150781120"/>
              </p:ext>
            </p:extLst>
          </p:nvPr>
        </p:nvGraphicFramePr>
        <p:xfrm>
          <a:off x="253112" y="636055"/>
          <a:ext cx="9399776" cy="1679040"/>
        </p:xfrm>
        <a:graphic>
          <a:graphicData uri="http://schemas.openxmlformats.org/drawingml/2006/table">
            <a:tbl>
              <a:tblPr firstRow="1" bandRow="1">
                <a:tableStyleId>{5C22544A-7EE6-4342-B048-85BDC9FD1C3A}</a:tableStyleId>
              </a:tblPr>
              <a:tblGrid>
                <a:gridCol w="2413888">
                  <a:extLst>
                    <a:ext uri="{9D8B030D-6E8A-4147-A177-3AD203B41FA5}">
                      <a16:colId xmlns:a16="http://schemas.microsoft.com/office/drawing/2014/main" val="1564954061"/>
                    </a:ext>
                  </a:extLst>
                </a:gridCol>
                <a:gridCol w="6985888">
                  <a:extLst>
                    <a:ext uri="{9D8B030D-6E8A-4147-A177-3AD203B41FA5}">
                      <a16:colId xmlns:a16="http://schemas.microsoft.com/office/drawing/2014/main" val="1876824073"/>
                    </a:ext>
                  </a:extLst>
                </a:gridCol>
              </a:tblGrid>
              <a:tr h="0">
                <a:tc>
                  <a:txBody>
                    <a:bodyPr/>
                    <a:lstStyle/>
                    <a:p>
                      <a:r>
                        <a:rPr kumimoji="1" lang="ja-JP" altLang="en-US" sz="1200" b="0">
                          <a:solidFill>
                            <a:schemeClr val="tx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467802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コンソーシアム組成年月日</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200" b="0" i="1" u="none" strike="noStrike" kern="1200" cap="none" spc="0" normalizeH="0" baseline="0" noProof="0">
                        <a:ln>
                          <a:noFill/>
                        </a:ln>
                        <a:solidFill>
                          <a:schemeClr val="tx1"/>
                        </a:solidFill>
                        <a:effectLst/>
                        <a:uLnTx/>
                        <a:uFillTx/>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397821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代表企業等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97250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代表企業等所在地</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642411"/>
                  </a:ext>
                </a:extLst>
              </a:tr>
              <a:tr h="0">
                <a:tc>
                  <a:txBody>
                    <a:bodyPr/>
                    <a:lstStyle/>
                    <a:p>
                      <a:r>
                        <a:rPr kumimoji="1" lang="ja-JP" altLang="en-US" sz="1200" b="0">
                          <a:solidFill>
                            <a:schemeClr val="tx1"/>
                          </a:solidFill>
                          <a:latin typeface="Meiryo UI" panose="020B0604030504040204" pitchFamily="50" charset="-128"/>
                          <a:ea typeface="Meiryo UI" panose="020B0604030504040204" pitchFamily="50" charset="-128"/>
                        </a:rPr>
                        <a:t>代表企業等の代表者</a:t>
                      </a:r>
                      <a:endParaRPr kumimoji="1" lang="en-US" altLang="ja-JP" sz="1200" b="0">
                        <a:solidFill>
                          <a:schemeClr val="tx1"/>
                        </a:solidFill>
                        <a:latin typeface="Meiryo UI" panose="020B0604030504040204" pitchFamily="50" charset="-128"/>
                        <a:ea typeface="Meiryo UI" panose="020B0604030504040204" pitchFamily="50" charset="-128"/>
                      </a:endParaRPr>
                    </a:p>
                    <a:p>
                      <a:r>
                        <a:rPr kumimoji="1" lang="ja-JP" altLang="en-US" sz="1200" b="0">
                          <a:solidFill>
                            <a:schemeClr val="tx1"/>
                          </a:solidFill>
                          <a:latin typeface="Meiryo UI" panose="020B0604030504040204" pitchFamily="50" charset="-128"/>
                          <a:ea typeface="Meiryo UI" panose="020B0604030504040204" pitchFamily="50" charset="-128"/>
                        </a:rPr>
                        <a:t>（所属・役職・氏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9503124"/>
                  </a:ext>
                </a:extLst>
              </a:tr>
              <a:tr h="0">
                <a:tc>
                  <a:txBody>
                    <a:bodyPr/>
                    <a:lstStyle/>
                    <a:p>
                      <a:r>
                        <a:rPr kumimoji="1" lang="ja-JP" altLang="en-US" sz="1200" b="0">
                          <a:solidFill>
                            <a:schemeClr val="tx1"/>
                          </a:solidFill>
                          <a:latin typeface="Meiryo UI" panose="020B0604030504040204" pitchFamily="50" charset="-128"/>
                          <a:ea typeface="Meiryo UI" panose="020B0604030504040204" pitchFamily="50" charset="-128"/>
                        </a:rPr>
                        <a:t>代表企業等における本事業の代表者</a:t>
                      </a:r>
                      <a:endParaRPr kumimoji="1" lang="en-US" altLang="ja-JP" sz="1200" b="0">
                        <a:solidFill>
                          <a:schemeClr val="tx1"/>
                        </a:solidFill>
                        <a:latin typeface="Meiryo UI" panose="020B0604030504040204" pitchFamily="50" charset="-128"/>
                        <a:ea typeface="Meiryo UI" panose="020B0604030504040204" pitchFamily="50" charset="-128"/>
                      </a:endParaRPr>
                    </a:p>
                    <a:p>
                      <a:r>
                        <a:rPr kumimoji="1" lang="ja-JP" altLang="en-US" sz="1200" b="0">
                          <a:solidFill>
                            <a:schemeClr val="tx1"/>
                          </a:solidFill>
                          <a:latin typeface="Meiryo UI" panose="020B0604030504040204" pitchFamily="50" charset="-128"/>
                          <a:ea typeface="Meiryo UI" panose="020B0604030504040204" pitchFamily="50" charset="-128"/>
                        </a:rPr>
                        <a:t>（所属・役職・氏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6551038"/>
                  </a:ext>
                </a:extLst>
              </a:tr>
            </a:tbl>
          </a:graphicData>
        </a:graphic>
      </p:graphicFrame>
      <p:sp>
        <p:nvSpPr>
          <p:cNvPr id="17" name="正方形/長方形 16">
            <a:extLst>
              <a:ext uri="{FF2B5EF4-FFF2-40B4-BE49-F238E27FC236}">
                <a16:creationId xmlns:a16="http://schemas.microsoft.com/office/drawing/2014/main" id="{E9D9F483-D2D3-94D4-AA6E-73C911AA4F2D}"/>
              </a:ext>
            </a:extLst>
          </p:cNvPr>
          <p:cNvSpPr/>
          <p:nvPr/>
        </p:nvSpPr>
        <p:spPr>
          <a:xfrm>
            <a:off x="1393372" y="261237"/>
            <a:ext cx="7119257" cy="4001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kumimoji="1" lang="ja-JP" altLang="en-US" sz="2000">
                <a:solidFill>
                  <a:schemeClr val="tx1"/>
                </a:solidFill>
                <a:latin typeface="Meiryo UI" panose="020B0604030504040204" pitchFamily="50" charset="-128"/>
                <a:ea typeface="Meiryo UI" panose="020B0604030504040204" pitchFamily="50" charset="-128"/>
              </a:rPr>
              <a:t>企業等概要書（</a:t>
            </a:r>
            <a:r>
              <a:rPr lang="ja-JP" altLang="en-US" sz="2000">
                <a:solidFill>
                  <a:schemeClr val="tx1"/>
                </a:solidFill>
                <a:latin typeface="Meiryo UI" panose="020B0604030504040204" pitchFamily="50" charset="-128"/>
                <a:ea typeface="Meiryo UI" panose="020B0604030504040204" pitchFamily="50" charset="-128"/>
              </a:rPr>
              <a:t>１</a:t>
            </a:r>
            <a:r>
              <a:rPr kumimoji="1" lang="en-US" altLang="ja-JP" sz="2000">
                <a:solidFill>
                  <a:schemeClr val="tx1"/>
                </a:solidFill>
                <a:latin typeface="Meiryo UI" panose="020B0604030504040204" pitchFamily="50" charset="-128"/>
                <a:ea typeface="Meiryo UI" panose="020B0604030504040204" pitchFamily="50" charset="-128"/>
              </a:rPr>
              <a:t>/</a:t>
            </a:r>
            <a:r>
              <a:rPr kumimoji="1" lang="ja-JP" altLang="en-US" sz="2000">
                <a:solidFill>
                  <a:schemeClr val="tx1"/>
                </a:solidFill>
                <a:latin typeface="Meiryo UI" panose="020B0604030504040204" pitchFamily="50" charset="-128"/>
                <a:ea typeface="Meiryo UI" panose="020B0604030504040204" pitchFamily="50" charset="-128"/>
              </a:rPr>
              <a:t>２）</a:t>
            </a:r>
          </a:p>
        </p:txBody>
      </p:sp>
      <p:sp>
        <p:nvSpPr>
          <p:cNvPr id="19" name="テキスト ボックス 18">
            <a:extLst>
              <a:ext uri="{FF2B5EF4-FFF2-40B4-BE49-F238E27FC236}">
                <a16:creationId xmlns:a16="http://schemas.microsoft.com/office/drawing/2014/main" id="{1F5B4B6C-29CB-5023-F476-D6B402C83AD7}"/>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実証事業</a:t>
            </a:r>
            <a:r>
              <a:rPr lang="ja-JP" altLang="en-US" sz="1400" b="1" dirty="0">
                <a:solidFill>
                  <a:prstClr val="black"/>
                </a:solidFill>
                <a:latin typeface="Meiryo UI" panose="020B0604030504040204" pitchFamily="50" charset="-128"/>
                <a:ea typeface="Meiryo UI" panose="020B0604030504040204" pitchFamily="50" charset="-128"/>
              </a:rPr>
              <a:t>モデル</a:t>
            </a: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1" name="吹き出し: 四角形 20">
            <a:extLst>
              <a:ext uri="{FF2B5EF4-FFF2-40B4-BE49-F238E27FC236}">
                <a16:creationId xmlns:a16="http://schemas.microsoft.com/office/drawing/2014/main" id="{408B688F-6726-6F51-E0D4-6B11BEF74BA0}"/>
              </a:ext>
            </a:extLst>
          </p:cNvPr>
          <p:cNvSpPr/>
          <p:nvPr/>
        </p:nvSpPr>
        <p:spPr>
          <a:xfrm>
            <a:off x="9789549" y="261237"/>
            <a:ext cx="2832282" cy="619925"/>
          </a:xfrm>
          <a:prstGeom prst="wedgeRectCallout">
            <a:avLst>
              <a:gd name="adj1" fmla="val -63710"/>
              <a:gd name="adj2" fmla="val 19077"/>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コンソーシアム名・代表企業等名には、（）でふりがなも記載してください。</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2" name="吹き出し: 四角形 21">
            <a:extLst>
              <a:ext uri="{FF2B5EF4-FFF2-40B4-BE49-F238E27FC236}">
                <a16:creationId xmlns:a16="http://schemas.microsoft.com/office/drawing/2014/main" id="{D083CB8B-4B2A-6D23-6B5F-555BA55851E4}"/>
              </a:ext>
            </a:extLst>
          </p:cNvPr>
          <p:cNvSpPr/>
          <p:nvPr/>
        </p:nvSpPr>
        <p:spPr>
          <a:xfrm>
            <a:off x="9789549" y="1060119"/>
            <a:ext cx="2832282" cy="619925"/>
          </a:xfrm>
          <a:prstGeom prst="wedgeRectCallout">
            <a:avLst>
              <a:gd name="adj1" fmla="val -59674"/>
              <a:gd name="adj2" fmla="val -64917"/>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defTabSz="457200">
              <a:defRPr/>
            </a:pPr>
            <a:r>
              <a:rPr kumimoji="0" lang="ja-JP" altLang="en-US" sz="1400">
                <a:solidFill>
                  <a:prstClr val="black"/>
                </a:solidFill>
                <a:latin typeface="Meiryo UI" panose="020B0604030504040204" pitchFamily="50" charset="-128"/>
                <a:ea typeface="Meiryo UI" panose="020B0604030504040204" pitchFamily="50" charset="-128"/>
              </a:rPr>
              <a:t>設立予定の場合は、その予定日を記載してください。</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7" name="吹き出し: 四角形 26">
            <a:extLst>
              <a:ext uri="{FF2B5EF4-FFF2-40B4-BE49-F238E27FC236}">
                <a16:creationId xmlns:a16="http://schemas.microsoft.com/office/drawing/2014/main" id="{A29BB432-D7BC-1FB0-279C-5276AADCF08F}"/>
              </a:ext>
            </a:extLst>
          </p:cNvPr>
          <p:cNvSpPr/>
          <p:nvPr/>
        </p:nvSpPr>
        <p:spPr>
          <a:xfrm>
            <a:off x="9906000" y="5429601"/>
            <a:ext cx="2832282" cy="1302636"/>
          </a:xfrm>
          <a:prstGeom prst="wedgeRectCallout">
            <a:avLst>
              <a:gd name="adj1" fmla="val -63710"/>
              <a:gd name="adj2" fmla="val 19077"/>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defTabSz="457200">
              <a:defRPr/>
            </a:pPr>
            <a:r>
              <a:rPr kumimoji="0" lang="ja-JP" altLang="en-US" sz="1400">
                <a:solidFill>
                  <a:prstClr val="black"/>
                </a:solidFill>
                <a:latin typeface="Meiryo UI" panose="020B0604030504040204" pitchFamily="50" charset="-128"/>
                <a:ea typeface="Meiryo UI" panose="020B0604030504040204" pitchFamily="50" charset="-128"/>
              </a:rPr>
              <a:t>経理担当予定者（主担当、副担当）は代表企業等とし、所属・役職・氏名、支援金業務や受託業務の経理の実績や年数等について記載してください。</a:t>
            </a:r>
          </a:p>
        </p:txBody>
      </p:sp>
      <p:sp>
        <p:nvSpPr>
          <p:cNvPr id="28" name="吹き出し: 四角形 27">
            <a:extLst>
              <a:ext uri="{FF2B5EF4-FFF2-40B4-BE49-F238E27FC236}">
                <a16:creationId xmlns:a16="http://schemas.microsoft.com/office/drawing/2014/main" id="{C380F9F7-7838-A229-0625-65D70E9FD3E4}"/>
              </a:ext>
            </a:extLst>
          </p:cNvPr>
          <p:cNvSpPr/>
          <p:nvPr/>
        </p:nvSpPr>
        <p:spPr>
          <a:xfrm>
            <a:off x="-2349500" y="3706288"/>
            <a:ext cx="2137844" cy="395812"/>
          </a:xfrm>
          <a:prstGeom prst="wedgeRectCallout">
            <a:avLst>
              <a:gd name="adj1" fmla="val 73501"/>
              <a:gd name="adj2" fmla="val -35520"/>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defTabSz="457200">
              <a:defRPr/>
            </a:pPr>
            <a:r>
              <a:rPr kumimoji="0" lang="ja-JP" altLang="en-US" sz="1400">
                <a:solidFill>
                  <a:prstClr val="black"/>
                </a:solidFill>
                <a:latin typeface="Meiryo UI" panose="020B0604030504040204" pitchFamily="50" charset="-128"/>
                <a:ea typeface="Meiryo UI" panose="020B0604030504040204" pitchFamily="50" charset="-128"/>
              </a:rPr>
              <a:t>行は適宜追加してください。</a:t>
            </a:r>
          </a:p>
        </p:txBody>
      </p:sp>
      <p:sp>
        <p:nvSpPr>
          <p:cNvPr id="4" name="正方形/長方形 3">
            <a:extLst>
              <a:ext uri="{FF2B5EF4-FFF2-40B4-BE49-F238E27FC236}">
                <a16:creationId xmlns:a16="http://schemas.microsoft.com/office/drawing/2014/main" id="{13BA0B6E-A569-5992-3244-8FE5B5FC5D25}"/>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２：企業等概要書</a:t>
            </a:r>
            <a:endParaRPr kumimoji="1" lang="ja-JP" altLang="en-US" sz="1400" b="1">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2F7B2E8C-9DF5-E055-E209-EF80E5DD228A}"/>
              </a:ext>
            </a:extLst>
          </p:cNvPr>
          <p:cNvSpPr/>
          <p:nvPr/>
        </p:nvSpPr>
        <p:spPr>
          <a:xfrm>
            <a:off x="0" y="-425160"/>
            <a:ext cx="5080000"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水色のコメントは、提出時に削除してください。</a:t>
            </a:r>
          </a:p>
        </p:txBody>
      </p:sp>
      <p:sp>
        <p:nvSpPr>
          <p:cNvPr id="6" name="吹き出し: 四角形 5">
            <a:extLst>
              <a:ext uri="{FF2B5EF4-FFF2-40B4-BE49-F238E27FC236}">
                <a16:creationId xmlns:a16="http://schemas.microsoft.com/office/drawing/2014/main" id="{17EFE410-32AF-98E6-8993-38D17786CEF7}"/>
              </a:ext>
            </a:extLst>
          </p:cNvPr>
          <p:cNvSpPr/>
          <p:nvPr/>
        </p:nvSpPr>
        <p:spPr>
          <a:xfrm>
            <a:off x="-4843741" y="-198543"/>
            <a:ext cx="4632085" cy="843359"/>
          </a:xfrm>
          <a:prstGeom prst="wedgeRectCallout">
            <a:avLst>
              <a:gd name="adj1" fmla="val 6316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エントリー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アドバンスド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74952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3</a:t>
            </a:fld>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3" name="テキスト ボックス 2">
            <a:extLst>
              <a:ext uri="{FF2B5EF4-FFF2-40B4-BE49-F238E27FC236}">
                <a16:creationId xmlns:a16="http://schemas.microsoft.com/office/drawing/2014/main" id="{62847267-A336-282E-500A-E342127DE8DE}"/>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２：企業等概要書</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E9D9F483-D2D3-94D4-AA6E-73C911AA4F2D}"/>
              </a:ext>
            </a:extLst>
          </p:cNvPr>
          <p:cNvSpPr/>
          <p:nvPr/>
        </p:nvSpPr>
        <p:spPr>
          <a:xfrm>
            <a:off x="1393372" y="261237"/>
            <a:ext cx="7119257" cy="4001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kumimoji="1" lang="ja-JP" altLang="en-US" sz="2000">
                <a:solidFill>
                  <a:schemeClr val="tx1"/>
                </a:solidFill>
                <a:latin typeface="Meiryo UI" panose="020B0604030504040204" pitchFamily="50" charset="-128"/>
                <a:ea typeface="Meiryo UI" panose="020B0604030504040204" pitchFamily="50" charset="-128"/>
              </a:rPr>
              <a:t>企業等概要書（２</a:t>
            </a:r>
            <a:r>
              <a:rPr kumimoji="1" lang="en-US" altLang="ja-JP" sz="2000">
                <a:solidFill>
                  <a:schemeClr val="tx1"/>
                </a:solidFill>
                <a:latin typeface="Meiryo UI" panose="020B0604030504040204" pitchFamily="50" charset="-128"/>
                <a:ea typeface="Meiryo UI" panose="020B0604030504040204" pitchFamily="50" charset="-128"/>
              </a:rPr>
              <a:t>/</a:t>
            </a:r>
            <a:r>
              <a:rPr kumimoji="1" lang="ja-JP" altLang="en-US" sz="2000">
                <a:solidFill>
                  <a:schemeClr val="tx1"/>
                </a:solidFill>
                <a:latin typeface="Meiryo UI" panose="020B0604030504040204" pitchFamily="50" charset="-128"/>
                <a:ea typeface="Meiryo UI" panose="020B0604030504040204" pitchFamily="50" charset="-128"/>
              </a:rPr>
              <a:t>２）</a:t>
            </a:r>
          </a:p>
        </p:txBody>
      </p:sp>
      <p:sp>
        <p:nvSpPr>
          <p:cNvPr id="19" name="テキスト ボックス 18">
            <a:extLst>
              <a:ext uri="{FF2B5EF4-FFF2-40B4-BE49-F238E27FC236}">
                <a16:creationId xmlns:a16="http://schemas.microsoft.com/office/drawing/2014/main" id="{1F5B4B6C-29CB-5023-F476-D6B402C83AD7}"/>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実証事業</a:t>
            </a:r>
            <a:r>
              <a:rPr lang="ja-JP" altLang="en-US" sz="1400" b="1" dirty="0">
                <a:solidFill>
                  <a:prstClr val="black"/>
                </a:solidFill>
                <a:latin typeface="Meiryo UI" panose="020B0604030504040204" pitchFamily="50" charset="-128"/>
                <a:ea typeface="Meiryo UI" panose="020B0604030504040204" pitchFamily="50" charset="-128"/>
              </a:rPr>
              <a:t>モデル</a:t>
            </a: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25" name="表 24">
            <a:extLst>
              <a:ext uri="{FF2B5EF4-FFF2-40B4-BE49-F238E27FC236}">
                <a16:creationId xmlns:a16="http://schemas.microsoft.com/office/drawing/2014/main" id="{C39A8FDE-38DE-9DB8-757B-777F5C5D5345}"/>
              </a:ext>
            </a:extLst>
          </p:cNvPr>
          <p:cNvGraphicFramePr>
            <a:graphicFrameLocks noGrp="1"/>
          </p:cNvGraphicFramePr>
          <p:nvPr>
            <p:extLst>
              <p:ext uri="{D42A27DB-BD31-4B8C-83A1-F6EECF244321}">
                <p14:modId xmlns:p14="http://schemas.microsoft.com/office/powerpoint/2010/main" val="1610045979"/>
              </p:ext>
            </p:extLst>
          </p:nvPr>
        </p:nvGraphicFramePr>
        <p:xfrm>
          <a:off x="253112" y="651817"/>
          <a:ext cx="9399776" cy="5981760"/>
        </p:xfrm>
        <a:graphic>
          <a:graphicData uri="http://schemas.openxmlformats.org/drawingml/2006/table">
            <a:tbl>
              <a:tblPr firstRow="1" firstCol="1" bandRow="1"/>
              <a:tblGrid>
                <a:gridCol w="9399776">
                  <a:extLst>
                    <a:ext uri="{9D8B030D-6E8A-4147-A177-3AD203B41FA5}">
                      <a16:colId xmlns:a16="http://schemas.microsoft.com/office/drawing/2014/main" val="578800927"/>
                    </a:ext>
                  </a:extLst>
                </a:gridCol>
              </a:tblGrid>
              <a:tr h="0">
                <a:tc>
                  <a:txBody>
                    <a:bodyPr/>
                    <a:lstStyle/>
                    <a:p>
                      <a:pPr algn="l"/>
                      <a:r>
                        <a:rPr lang="ja-JP" altLang="en-US" sz="12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規約等</a:t>
                      </a:r>
                      <a:endParaRPr lang="ja-JP" sz="12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184799109"/>
                  </a:ext>
                </a:extLst>
              </a:tr>
              <a:tr h="0">
                <a:tc>
                  <a:txBody>
                    <a:bodyPr/>
                    <a:lstStyle/>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　　有　　　・　　　作成中　　　（どちらかに○を付けてください。）</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22142238"/>
                  </a:ext>
                </a:extLst>
              </a:tr>
              <a:tr h="5472000">
                <a:tc>
                  <a:txBody>
                    <a:bodyPr/>
                    <a:lstStyle/>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目的】</a:t>
                      </a:r>
                    </a:p>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事業内容】</a:t>
                      </a:r>
                    </a:p>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活動エリア】</a:t>
                      </a:r>
                    </a:p>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事務処理及び会計処理の方法】</a:t>
                      </a:r>
                      <a:endParaRPr lang="en-US" altLang="ja-JP" sz="1200" b="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4069056"/>
                  </a:ext>
                </a:extLst>
              </a:tr>
            </a:tbl>
          </a:graphicData>
        </a:graphic>
      </p:graphicFrame>
      <p:sp>
        <p:nvSpPr>
          <p:cNvPr id="26" name="吹き出し: 四角形 25">
            <a:extLst>
              <a:ext uri="{FF2B5EF4-FFF2-40B4-BE49-F238E27FC236}">
                <a16:creationId xmlns:a16="http://schemas.microsoft.com/office/drawing/2014/main" id="{ED696BE0-B7CC-D6E4-816F-F1B78954B354}"/>
              </a:ext>
            </a:extLst>
          </p:cNvPr>
          <p:cNvSpPr/>
          <p:nvPr/>
        </p:nvSpPr>
        <p:spPr>
          <a:xfrm>
            <a:off x="-2876791" y="1754182"/>
            <a:ext cx="2832282" cy="1293818"/>
          </a:xfrm>
          <a:prstGeom prst="wedgeRectCallout">
            <a:avLst>
              <a:gd name="adj1" fmla="val 60049"/>
              <a:gd name="adj2" fmla="val -8446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200">
              <a:defRPr/>
            </a:pPr>
            <a:r>
              <a:rPr kumimoji="0" lang="ja-JP" altLang="en-US" sz="1400">
                <a:solidFill>
                  <a:prstClr val="black"/>
                </a:solidFill>
                <a:latin typeface="Meiryo UI" panose="020B0604030504040204" pitchFamily="50" charset="-128"/>
                <a:ea typeface="Meiryo UI" panose="020B0604030504040204" pitchFamily="50" charset="-128"/>
              </a:rPr>
              <a:t>本スライドの項目に沿って記載ください（作成中の場合を含む。）。</a:t>
            </a:r>
            <a:endParaRPr kumimoji="0" lang="en-US" altLang="ja-JP" sz="1400">
              <a:solidFill>
                <a:prstClr val="black"/>
              </a:solidFill>
              <a:latin typeface="Meiryo UI" panose="020B0604030504040204" pitchFamily="50" charset="-128"/>
              <a:ea typeface="Meiryo UI" panose="020B0604030504040204" pitchFamily="50" charset="-128"/>
            </a:endParaRPr>
          </a:p>
          <a:p>
            <a:pPr lvl="0" defTabSz="457200">
              <a:defRPr/>
            </a:pPr>
            <a:r>
              <a:rPr kumimoji="0" lang="ja-JP" altLang="en-US" sz="1400">
                <a:solidFill>
                  <a:prstClr val="black"/>
                </a:solidFill>
                <a:latin typeface="Meiryo UI" panose="020B0604030504040204" pitchFamily="50" charset="-128"/>
                <a:ea typeface="Meiryo UI" panose="020B0604030504040204" pitchFamily="50" charset="-128"/>
              </a:rPr>
              <a:t>なお、既に作成している規約がある場合は、別資料にて提出いただくことも可能です。</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9C7822A-AD96-1C44-9FF4-32762F22780B}"/>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２：企業等概要書</a:t>
            </a:r>
            <a:endParaRPr kumimoji="1" lang="ja-JP" altLang="en-US" sz="1400" b="1">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A496EE4E-B517-5E07-7780-D8C46F9B3646}"/>
              </a:ext>
            </a:extLst>
          </p:cNvPr>
          <p:cNvSpPr/>
          <p:nvPr/>
        </p:nvSpPr>
        <p:spPr>
          <a:xfrm>
            <a:off x="0" y="-425160"/>
            <a:ext cx="5080000"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水色のコメントは、提出時に削除してください。</a:t>
            </a:r>
          </a:p>
        </p:txBody>
      </p:sp>
      <p:sp>
        <p:nvSpPr>
          <p:cNvPr id="7" name="吹き出し: 四角形 6">
            <a:extLst>
              <a:ext uri="{FF2B5EF4-FFF2-40B4-BE49-F238E27FC236}">
                <a16:creationId xmlns:a16="http://schemas.microsoft.com/office/drawing/2014/main" id="{7A7179DD-02D2-7BF1-F590-2EA15D2F1B72}"/>
              </a:ext>
            </a:extLst>
          </p:cNvPr>
          <p:cNvSpPr/>
          <p:nvPr/>
        </p:nvSpPr>
        <p:spPr>
          <a:xfrm>
            <a:off x="-4843741" y="-198543"/>
            <a:ext cx="4632085" cy="843359"/>
          </a:xfrm>
          <a:prstGeom prst="wedgeRectCallout">
            <a:avLst>
              <a:gd name="adj1" fmla="val 6316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エントリー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アドバンスド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2618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4</a:t>
            </a:fld>
            <a:endParaRPr kumimoji="0"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54" name="正方形/長方形 1210">
            <a:extLst>
              <a:ext uri="{FF2B5EF4-FFF2-40B4-BE49-F238E27FC236}">
                <a16:creationId xmlns:a16="http://schemas.microsoft.com/office/drawing/2014/main" id="{8270898E-8DE6-732E-545F-15ACD3F67F6C}"/>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ア）目指す姿</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dirty="0">
                <a:solidFill>
                  <a:srgbClr val="0070C0"/>
                </a:solidFill>
                <a:latin typeface="Meiryo UI" panose="020B0604030504040204" pitchFamily="50" charset="-128"/>
                <a:ea typeface="Meiryo UI" panose="020B0604030504040204" pitchFamily="50" charset="-128"/>
              </a:rPr>
              <a:t>持続可能な観光地域づくりの実現に向けて、観光</a:t>
            </a:r>
            <a:r>
              <a:rPr kumimoji="0" lang="en-US" altLang="ja-JP" sz="1200" dirty="0">
                <a:solidFill>
                  <a:srgbClr val="0070C0"/>
                </a:solidFill>
                <a:latin typeface="Meiryo UI" panose="020B0604030504040204" pitchFamily="50" charset="-128"/>
                <a:ea typeface="Meiryo UI" panose="020B0604030504040204" pitchFamily="50" charset="-128"/>
              </a:rPr>
              <a:t>DX</a:t>
            </a:r>
            <a:r>
              <a:rPr kumimoji="0" lang="ja-JP" altLang="en-US" sz="1200" dirty="0">
                <a:solidFill>
                  <a:srgbClr val="0070C0"/>
                </a:solidFill>
                <a:latin typeface="Meiryo UI" panose="020B0604030504040204" pitchFamily="50" charset="-128"/>
                <a:ea typeface="Meiryo UI" panose="020B0604030504040204" pitchFamily="50" charset="-128"/>
              </a:rPr>
              <a:t>の推進を通じて地方誘客、オーバーツーリズム対策、インバウンド消費拡大といった課題に対し、単一の課題もしくは複合的な課題解決に取り組み、地域全体の消費拡大、誘客・再来訪促進に寄与する内容となっていること</a:t>
            </a:r>
            <a:endParaRPr kumimoji="0" lang="en-US" altLang="ja-JP" sz="1200" dirty="0">
              <a:solidFill>
                <a:srgbClr val="0070C0"/>
              </a:solidFill>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イ）現状・課題</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地方誘客、オーバーツーリズム対策、インバウンド消費拡大といった課題に対し、観光地・観光産業の現状やこれまでの取組と成果を踏まえたうえで、目指す姿の実現に向けた取組が設定さ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p:txBody>
      </p:sp>
      <p:sp>
        <p:nvSpPr>
          <p:cNvPr id="55" name="正方形/長方形 1212">
            <a:extLst>
              <a:ext uri="{FF2B5EF4-FFF2-40B4-BE49-F238E27FC236}">
                <a16:creationId xmlns:a16="http://schemas.microsoft.com/office/drawing/2014/main" id="{D2FAD329-26AD-293E-6AEF-4F6057BF7DD5}"/>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①業務内容の理解度</a:t>
            </a:r>
          </a:p>
        </p:txBody>
      </p:sp>
      <p:sp>
        <p:nvSpPr>
          <p:cNvPr id="9" name="テキスト ボックス 8">
            <a:extLst>
              <a:ext uri="{FF2B5EF4-FFF2-40B4-BE49-F238E27FC236}">
                <a16:creationId xmlns:a16="http://schemas.microsoft.com/office/drawing/2014/main" id="{48FFCF07-C5D9-9C55-D8FA-5927940E9BB3}"/>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4151812008"/>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実証事業</a:t>
            </a:r>
            <a:r>
              <a:rPr lang="ja-JP" altLang="en-US" sz="1400" b="1" dirty="0">
                <a:solidFill>
                  <a:prstClr val="black"/>
                </a:solidFill>
                <a:latin typeface="Meiryo UI" panose="020B0604030504040204" pitchFamily="50" charset="-128"/>
                <a:ea typeface="Meiryo UI" panose="020B0604030504040204" pitchFamily="50" charset="-128"/>
              </a:rPr>
              <a:t>モデル</a:t>
            </a: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207538E4-371C-D3ED-38B2-7A2EFBA1490A}"/>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3" name="正方形/長方形 2">
            <a:extLst>
              <a:ext uri="{FF2B5EF4-FFF2-40B4-BE49-F238E27FC236}">
                <a16:creationId xmlns:a16="http://schemas.microsoft.com/office/drawing/2014/main" id="{017C7083-45EA-7958-9464-4C70A9D6ECB1}"/>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4" name="吹き出し: 四角形 3">
            <a:extLst>
              <a:ext uri="{FF2B5EF4-FFF2-40B4-BE49-F238E27FC236}">
                <a16:creationId xmlns:a16="http://schemas.microsoft.com/office/drawing/2014/main" id="{9ED91F6C-1AAE-1C4C-E191-F06F743C4F2E}"/>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10" name="吹き出し: 四角形 9">
            <a:extLst>
              <a:ext uri="{FF2B5EF4-FFF2-40B4-BE49-F238E27FC236}">
                <a16:creationId xmlns:a16="http://schemas.microsoft.com/office/drawing/2014/main" id="{977A05D3-2C48-0DB4-9370-4BFBC84BFB06}"/>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6" name="吹き出し: 四角形 5">
            <a:extLst>
              <a:ext uri="{FF2B5EF4-FFF2-40B4-BE49-F238E27FC236}">
                <a16:creationId xmlns:a16="http://schemas.microsoft.com/office/drawing/2014/main" id="{8D6C105C-8D17-2E1A-0A7D-4910E05194BB}"/>
              </a:ext>
            </a:extLst>
          </p:cNvPr>
          <p:cNvSpPr/>
          <p:nvPr/>
        </p:nvSpPr>
        <p:spPr>
          <a:xfrm>
            <a:off x="-4843741" y="-198543"/>
            <a:ext cx="4632085" cy="843359"/>
          </a:xfrm>
          <a:prstGeom prst="wedgeRectCallout">
            <a:avLst>
              <a:gd name="adj1" fmla="val 6316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エントリー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アドバンスド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09511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5</a:t>
            </a:fld>
            <a:endParaRPr kumimoji="0"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556749762"/>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実証事業</a:t>
            </a:r>
            <a:r>
              <a:rPr lang="ja-JP" altLang="en-US" sz="1400" b="1" dirty="0">
                <a:solidFill>
                  <a:prstClr val="black"/>
                </a:solidFill>
                <a:latin typeface="Meiryo UI" panose="020B0604030504040204" pitchFamily="50" charset="-128"/>
                <a:ea typeface="Meiryo UI" panose="020B0604030504040204" pitchFamily="50" charset="-128"/>
              </a:rPr>
              <a:t>モデル</a:t>
            </a: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C6ADE998-5756-5AA5-ED95-06797632A41F}"/>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4" name="テキスト ボックス 3">
            <a:extLst>
              <a:ext uri="{FF2B5EF4-FFF2-40B4-BE49-F238E27FC236}">
                <a16:creationId xmlns:a16="http://schemas.microsoft.com/office/drawing/2014/main" id="{D13ECC97-44AC-8E8E-F968-610B4FAE7E4E}"/>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8BB689C-E2D6-912C-6E4D-EEF6BC800710}"/>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3" name="正方形/長方形 1210">
            <a:extLst>
              <a:ext uri="{FF2B5EF4-FFF2-40B4-BE49-F238E27FC236}">
                <a16:creationId xmlns:a16="http://schemas.microsoft.com/office/drawing/2014/main" id="{0A9C6F24-F88B-D462-5146-F462DE287C0F}"/>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ア）</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KGI</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と</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KPI</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地域全体の消費拡大、誘客・再来訪促進を図るべく、本実証事業の目標値となる</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KGI</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やその進捗を定量的に把握するための観測指標となる</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KPI</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が設定され、その運用方法が具体的に示さ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イ）解決策</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課題解決に取り組むにあたり、デジタル技術等を活用した施策・サービスが観光地・観光産業に与える影響が明確かつ具体的に示されていること</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システム基盤の構築・運用手法（導入製品・構築費用・運用費用等）や構築・運用を支えるデジタル人材の確保・育成手法等が具体的に示されていること</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他地域がデータを活用した</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DX</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推進に取り組むにあたり参考となるような、費用対効果の高い課題解決手法が具体的に示されていること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p:txBody>
      </p:sp>
      <p:sp>
        <p:nvSpPr>
          <p:cNvPr id="9" name="正方形/長方形 1212">
            <a:extLst>
              <a:ext uri="{FF2B5EF4-FFF2-40B4-BE49-F238E27FC236}">
                <a16:creationId xmlns:a16="http://schemas.microsoft.com/office/drawing/2014/main" id="{151D2A76-1B9E-0A46-3EA8-EF939E0497BE}"/>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②提案内容の的確性</a:t>
            </a:r>
          </a:p>
        </p:txBody>
      </p:sp>
      <p:sp>
        <p:nvSpPr>
          <p:cNvPr id="10" name="吹き出し: 四角形 9">
            <a:extLst>
              <a:ext uri="{FF2B5EF4-FFF2-40B4-BE49-F238E27FC236}">
                <a16:creationId xmlns:a16="http://schemas.microsoft.com/office/drawing/2014/main" id="{FA77C46C-B654-DCDE-2524-4255FAAF3C91}"/>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7" name="吹き出し: 四角形 6">
            <a:extLst>
              <a:ext uri="{FF2B5EF4-FFF2-40B4-BE49-F238E27FC236}">
                <a16:creationId xmlns:a16="http://schemas.microsoft.com/office/drawing/2014/main" id="{DE51EF56-EF48-99D0-B0C2-FC26CC6762E4}"/>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12" name="吹き出し: 四角形 11">
            <a:extLst>
              <a:ext uri="{FF2B5EF4-FFF2-40B4-BE49-F238E27FC236}">
                <a16:creationId xmlns:a16="http://schemas.microsoft.com/office/drawing/2014/main" id="{3A8F9EEA-ABCD-F14D-B0F5-9249A091BB2E}"/>
              </a:ext>
            </a:extLst>
          </p:cNvPr>
          <p:cNvSpPr/>
          <p:nvPr/>
        </p:nvSpPr>
        <p:spPr>
          <a:xfrm>
            <a:off x="-4843741" y="-198543"/>
            <a:ext cx="4632085" cy="843359"/>
          </a:xfrm>
          <a:prstGeom prst="wedgeRectCallout">
            <a:avLst>
              <a:gd name="adj1" fmla="val 6316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エントリー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アドバンスド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8" name="吹き出し: 四角形 7">
            <a:extLst>
              <a:ext uri="{FF2B5EF4-FFF2-40B4-BE49-F238E27FC236}">
                <a16:creationId xmlns:a16="http://schemas.microsoft.com/office/drawing/2014/main" id="{F2C2514D-8700-50C4-BFD4-376021648FDA}"/>
              </a:ext>
            </a:extLst>
          </p:cNvPr>
          <p:cNvSpPr/>
          <p:nvPr/>
        </p:nvSpPr>
        <p:spPr>
          <a:xfrm>
            <a:off x="9996862" y="1257652"/>
            <a:ext cx="2921000" cy="3695348"/>
          </a:xfrm>
          <a:prstGeom prst="wedgeRectCallout">
            <a:avLst>
              <a:gd name="adj1" fmla="val -65036"/>
              <a:gd name="adj2" fmla="val -29281"/>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①エントリーモデルを選択される方：</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既存のサービス・製品を活用し、データを蓄積する</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DMP</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データを活用する</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BI</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ツールや生成</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ツール等のシステム基盤を整備する事業を募集します。利用を予定しているサービス・製品及びそれらを事業のどの部分で活用するのか等についても具体的に記載してください。</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②アドバンスドモデルを選択される方：</a:t>
            </a:r>
            <a:endParaRPr kumimoji="0" lang="en-US" altLang="ja-JP" sz="1400" dirty="0">
              <a:solidFill>
                <a:prstClr val="black"/>
              </a:solidFill>
              <a:latin typeface="Meiryo UI" panose="020B0604030504040204" pitchFamily="50" charset="-128"/>
              <a:ea typeface="Meiryo UI" panose="020B0604030504040204" pitchFamily="50" charset="-128"/>
            </a:endParaRPr>
          </a:p>
          <a:p>
            <a:pPr lvl="0" defTabSz="457200">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新たなデータの収集・分析・活用を目的として、既存のシステム基盤を拡張する事業を募集します。既存システムの詳細及び</a:t>
            </a:r>
            <a:r>
              <a:rPr kumimoji="0" lang="ja-JP" altLang="en-US" sz="1400" dirty="0">
                <a:solidFill>
                  <a:prstClr val="black"/>
                </a:solidFill>
                <a:latin typeface="Meiryo UI" panose="020B0604030504040204" pitchFamily="50" charset="-128"/>
                <a:ea typeface="Meiryo UI" panose="020B0604030504040204" pitchFamily="50" charset="-128"/>
              </a:rPr>
              <a:t>現在の地域一体でのデータ活用状況、本実証事業で実施する</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拡張の内容等についても具体的に記載してください。</a:t>
            </a:r>
          </a:p>
        </p:txBody>
      </p:sp>
    </p:spTree>
    <p:extLst>
      <p:ext uri="{BB962C8B-B14F-4D97-AF65-F5344CB8AC3E}">
        <p14:creationId xmlns:p14="http://schemas.microsoft.com/office/powerpoint/2010/main" val="9344054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54" name="正方形/長方形 1210">
            <a:extLst>
              <a:ext uri="{FF2B5EF4-FFF2-40B4-BE49-F238E27FC236}">
                <a16:creationId xmlns:a16="http://schemas.microsoft.com/office/drawing/2014/main" id="{8270898E-8DE6-732E-545F-15ACD3F67F6C}"/>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dirty="0">
                <a:solidFill>
                  <a:srgbClr val="0070C0"/>
                </a:solidFill>
                <a:latin typeface="Meiryo UI" panose="020B0604030504040204" pitchFamily="50" charset="-128"/>
                <a:ea typeface="Meiryo UI" panose="020B0604030504040204" pitchFamily="50" charset="-128"/>
              </a:rPr>
              <a:t>（ウ）</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スケジュール</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デジタル技術を活用した施策の実施期間が十分に確保され、期間内に想定されるリスクとその対処も含め、計画が策定されていること</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実証事業終了後においても、コンソーシアムにて事業を継続するための、費用・人員等の運営体制が明確に示されていること</a:t>
            </a:r>
          </a:p>
        </p:txBody>
      </p:sp>
      <p:sp>
        <p:nvSpPr>
          <p:cNvPr id="55" name="正方形/長方形 1212">
            <a:extLst>
              <a:ext uri="{FF2B5EF4-FFF2-40B4-BE49-F238E27FC236}">
                <a16:creationId xmlns:a16="http://schemas.microsoft.com/office/drawing/2014/main" id="{D2FAD329-26AD-293E-6AEF-4F6057BF7DD5}"/>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②提案内容の的確性</a:t>
            </a: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4219908967"/>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実証事業</a:t>
            </a:r>
            <a:r>
              <a:rPr lang="ja-JP" altLang="en-US" sz="1400" b="1" dirty="0">
                <a:solidFill>
                  <a:prstClr val="black"/>
                </a:solidFill>
                <a:latin typeface="Meiryo UI" panose="020B0604030504040204" pitchFamily="50" charset="-128"/>
                <a:ea typeface="Meiryo UI" panose="020B0604030504040204" pitchFamily="50" charset="-128"/>
              </a:rPr>
              <a:t>モデル</a:t>
            </a: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C6ADE998-5756-5AA5-ED95-06797632A41F}"/>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3" name="吹き出し: 四角形 2">
            <a:extLst>
              <a:ext uri="{FF2B5EF4-FFF2-40B4-BE49-F238E27FC236}">
                <a16:creationId xmlns:a16="http://schemas.microsoft.com/office/drawing/2014/main" id="{F7E2CEAB-BE04-A3AE-520E-FDB43A0D1173}"/>
              </a:ext>
            </a:extLst>
          </p:cNvPr>
          <p:cNvSpPr/>
          <p:nvPr/>
        </p:nvSpPr>
        <p:spPr>
          <a:xfrm>
            <a:off x="-2370610" y="1251150"/>
            <a:ext cx="2160382" cy="814783"/>
          </a:xfrm>
          <a:prstGeom prst="wedgeRectCallout">
            <a:avLst>
              <a:gd name="adj1" fmla="val 77967"/>
              <a:gd name="adj2" fmla="val -4906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本実証における、業務着手から業務完了までの工程計画を</a:t>
            </a:r>
            <a:r>
              <a:rPr kumimoji="0" lang="ja-JP" altLang="en-US" sz="1400" dirty="0">
                <a:solidFill>
                  <a:prstClr val="black"/>
                </a:solidFill>
                <a:latin typeface="Meiryo UI" panose="020B0604030504040204" pitchFamily="50" charset="-128"/>
                <a:ea typeface="Meiryo UI" panose="020B0604030504040204" pitchFamily="50" charset="-128"/>
              </a:rPr>
              <a:t>記載</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してください。</a:t>
            </a:r>
          </a:p>
        </p:txBody>
      </p:sp>
      <p:sp>
        <p:nvSpPr>
          <p:cNvPr id="4" name="テキスト ボックス 3">
            <a:extLst>
              <a:ext uri="{FF2B5EF4-FFF2-40B4-BE49-F238E27FC236}">
                <a16:creationId xmlns:a16="http://schemas.microsoft.com/office/drawing/2014/main" id="{004A5FF3-DE4C-EE31-CE71-7F3BC06845A7}"/>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AC253511-B2C6-3C8D-7EF5-B4E9B518E178}"/>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7" name="吹き出し: 四角形 6">
            <a:extLst>
              <a:ext uri="{FF2B5EF4-FFF2-40B4-BE49-F238E27FC236}">
                <a16:creationId xmlns:a16="http://schemas.microsoft.com/office/drawing/2014/main" id="{F0D8C33D-1732-A30E-8F73-D3F7B10AAB1D}"/>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9" name="吹き出し: 四角形 8">
            <a:extLst>
              <a:ext uri="{FF2B5EF4-FFF2-40B4-BE49-F238E27FC236}">
                <a16:creationId xmlns:a16="http://schemas.microsoft.com/office/drawing/2014/main" id="{E66F32A1-A721-6569-A850-D4CA7A3D7ED9}"/>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8" name="吹き出し: 四角形 7">
            <a:extLst>
              <a:ext uri="{FF2B5EF4-FFF2-40B4-BE49-F238E27FC236}">
                <a16:creationId xmlns:a16="http://schemas.microsoft.com/office/drawing/2014/main" id="{AA231E8A-3DA0-A8D4-CA5B-6AC42151DC4E}"/>
              </a:ext>
            </a:extLst>
          </p:cNvPr>
          <p:cNvSpPr/>
          <p:nvPr/>
        </p:nvSpPr>
        <p:spPr>
          <a:xfrm>
            <a:off x="-4843741" y="-198543"/>
            <a:ext cx="4632085" cy="843359"/>
          </a:xfrm>
          <a:prstGeom prst="wedgeRectCallout">
            <a:avLst>
              <a:gd name="adj1" fmla="val 6316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エントリー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アドバンスド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0" name="吹き出し: 四角形 9">
            <a:extLst>
              <a:ext uri="{FF2B5EF4-FFF2-40B4-BE49-F238E27FC236}">
                <a16:creationId xmlns:a16="http://schemas.microsoft.com/office/drawing/2014/main" id="{6AB6F025-B71E-AE06-A666-C9C2B92D8EC9}"/>
              </a:ext>
            </a:extLst>
          </p:cNvPr>
          <p:cNvSpPr/>
          <p:nvPr/>
        </p:nvSpPr>
        <p:spPr>
          <a:xfrm>
            <a:off x="9996862" y="1257652"/>
            <a:ext cx="2921000" cy="1510948"/>
          </a:xfrm>
          <a:prstGeom prst="wedgeRectCallout">
            <a:avLst>
              <a:gd name="adj1" fmla="val -65036"/>
              <a:gd name="adj2" fmla="val -29281"/>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本事業はシステム基盤の構築が目的ではなく、システム基盤を活用した</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DX</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推進による効果検証が目的の実証事業であるため、システム構築は</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3</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か月程度で完了し、その後の期間を実証期間とすることを目安としてください。</a:t>
            </a:r>
          </a:p>
        </p:txBody>
      </p:sp>
    </p:spTree>
    <p:extLst>
      <p:ext uri="{BB962C8B-B14F-4D97-AF65-F5344CB8AC3E}">
        <p14:creationId xmlns:p14="http://schemas.microsoft.com/office/powerpoint/2010/main" val="6451062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1210">
            <a:extLst>
              <a:ext uri="{FF2B5EF4-FFF2-40B4-BE49-F238E27FC236}">
                <a16:creationId xmlns:a16="http://schemas.microsoft.com/office/drawing/2014/main" id="{0C3EB04A-A7AA-2194-4D10-FCC6CC2A271F}"/>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ア）実証内容の独創性</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定の知識や経験に基づき、将来に向けて転換・変容させていくことが望ましい領域が特定され、将来のニーズや課題に実証事業が適⽤され機能すること（思いつきでなく成果）を通じて、地域に新しい付加価値を生み出す内容となっ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イ）実施内容の優位性</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従来の手法や単なるシステム導入と比較して、現状の課題に対する仮説が論理的に構築されており、その成否を判断するためのデータ取得・検証方法が明確に示されていること</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また、仮説が外れた場合でも、次期の施策に活かせる有益な示唆（ネガティブデータを含む）が得られる内容となっていること</a:t>
            </a:r>
          </a:p>
        </p:txBody>
      </p:sp>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7</a:t>
            </a:fld>
            <a:endParaRPr kumimoji="0"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55" name="正方形/長方形 1212">
            <a:extLst>
              <a:ext uri="{FF2B5EF4-FFF2-40B4-BE49-F238E27FC236}">
                <a16:creationId xmlns:a16="http://schemas.microsoft.com/office/drawing/2014/main" id="{D2FAD329-26AD-293E-6AEF-4F6057BF7DD5}"/>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③</a:t>
            </a: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提案内容の独創性</a:t>
            </a: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3284922834"/>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実証事業</a:t>
            </a:r>
            <a:r>
              <a:rPr lang="ja-JP" altLang="en-US" sz="1400" b="1" dirty="0">
                <a:solidFill>
                  <a:prstClr val="black"/>
                </a:solidFill>
                <a:latin typeface="Meiryo UI" panose="020B0604030504040204" pitchFamily="50" charset="-128"/>
                <a:ea typeface="Meiryo UI" panose="020B0604030504040204" pitchFamily="50" charset="-128"/>
              </a:rPr>
              <a:t>モデル</a:t>
            </a: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C6ADE998-5756-5AA5-ED95-06797632A41F}"/>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3" name="テキスト ボックス 2">
            <a:extLst>
              <a:ext uri="{FF2B5EF4-FFF2-40B4-BE49-F238E27FC236}">
                <a16:creationId xmlns:a16="http://schemas.microsoft.com/office/drawing/2014/main" id="{857456A9-1326-D2BF-0669-151F30CCDFA7}"/>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305CAF5-EB2E-1218-5A45-48EE89C63AB3}"/>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4" name="吹き出し: 四角形 3">
            <a:extLst>
              <a:ext uri="{FF2B5EF4-FFF2-40B4-BE49-F238E27FC236}">
                <a16:creationId xmlns:a16="http://schemas.microsoft.com/office/drawing/2014/main" id="{4A30C6B7-B1DE-E8EB-21A1-77E319FFFA01}"/>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7" name="吹き出し: 四角形 6">
            <a:extLst>
              <a:ext uri="{FF2B5EF4-FFF2-40B4-BE49-F238E27FC236}">
                <a16:creationId xmlns:a16="http://schemas.microsoft.com/office/drawing/2014/main" id="{1FFB708B-852B-BC0F-D047-82D97C35BD5B}"/>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10" name="吹き出し: 四角形 9">
            <a:extLst>
              <a:ext uri="{FF2B5EF4-FFF2-40B4-BE49-F238E27FC236}">
                <a16:creationId xmlns:a16="http://schemas.microsoft.com/office/drawing/2014/main" id="{56D4CA12-43F2-9D35-6DF6-86F5C5073AE2}"/>
              </a:ext>
            </a:extLst>
          </p:cNvPr>
          <p:cNvSpPr/>
          <p:nvPr/>
        </p:nvSpPr>
        <p:spPr>
          <a:xfrm>
            <a:off x="-4843741" y="-198543"/>
            <a:ext cx="4632085" cy="843359"/>
          </a:xfrm>
          <a:prstGeom prst="wedgeRectCallout">
            <a:avLst>
              <a:gd name="adj1" fmla="val 6316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エントリー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アドバンスド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93319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210">
            <a:extLst>
              <a:ext uri="{FF2B5EF4-FFF2-40B4-BE49-F238E27FC236}">
                <a16:creationId xmlns:a16="http://schemas.microsoft.com/office/drawing/2014/main" id="{04FAE4B4-1865-5675-4BA8-12721219DB08}"/>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ア）</a:t>
            </a:r>
            <a:r>
              <a:rPr kumimoji="0" lang="zh-TW"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事業実施体制</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目標達成及び計画遂行に必要となる組織、人員等を有し、参画する各企業等の役割が適切に分担され明確化さ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イ）地域等との調整状況</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本実証事業を進める上で、地域での合意形成や関係する事業者の巻き込みが円滑に進むよう、必要となる地域・事業者との連携・調整等が取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ウ）地域活性化・観光誘客等の実績</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デジタル技術や</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DX</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推進を含む地域活性化や観光誘客等の事業実績を有していること</a:t>
            </a:r>
          </a:p>
        </p:txBody>
      </p:sp>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8</a:t>
            </a:fld>
            <a:endParaRPr kumimoji="0"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55" name="正方形/長方形 1212">
            <a:extLst>
              <a:ext uri="{FF2B5EF4-FFF2-40B4-BE49-F238E27FC236}">
                <a16:creationId xmlns:a16="http://schemas.microsoft.com/office/drawing/2014/main" id="{D2FAD329-26AD-293E-6AEF-4F6057BF7DD5}"/>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④事業遂行の確実性</a:t>
            </a: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1851539103"/>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実証事業テーマ</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C6ADE998-5756-5AA5-ED95-06797632A41F}"/>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3" name="テキスト ボックス 2">
            <a:extLst>
              <a:ext uri="{FF2B5EF4-FFF2-40B4-BE49-F238E27FC236}">
                <a16:creationId xmlns:a16="http://schemas.microsoft.com/office/drawing/2014/main" id="{240D340A-D3C8-6663-6E13-5156BA99A477}"/>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3E51854-A0E8-DBB0-AF9F-F13AF4CD6FFC}"/>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4" name="吹き出し: 四角形 3">
            <a:extLst>
              <a:ext uri="{FF2B5EF4-FFF2-40B4-BE49-F238E27FC236}">
                <a16:creationId xmlns:a16="http://schemas.microsoft.com/office/drawing/2014/main" id="{535A8C28-34FB-FE3D-8BEC-54667F3460C7}"/>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7" name="吹き出し: 四角形 6">
            <a:extLst>
              <a:ext uri="{FF2B5EF4-FFF2-40B4-BE49-F238E27FC236}">
                <a16:creationId xmlns:a16="http://schemas.microsoft.com/office/drawing/2014/main" id="{A6833025-D16F-1F36-430A-8A49C3D3083C}"/>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12" name="吹き出し: 四角形 11">
            <a:extLst>
              <a:ext uri="{FF2B5EF4-FFF2-40B4-BE49-F238E27FC236}">
                <a16:creationId xmlns:a16="http://schemas.microsoft.com/office/drawing/2014/main" id="{9DA77132-1C92-4FCB-68D4-D798E37D1C9F}"/>
              </a:ext>
            </a:extLst>
          </p:cNvPr>
          <p:cNvSpPr/>
          <p:nvPr/>
        </p:nvSpPr>
        <p:spPr>
          <a:xfrm>
            <a:off x="9996862" y="1257652"/>
            <a:ext cx="2921000" cy="1752248"/>
          </a:xfrm>
          <a:prstGeom prst="wedgeRectCallout">
            <a:avLst>
              <a:gd name="adj1" fmla="val -65036"/>
              <a:gd name="adj2" fmla="val -29281"/>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アドバンスドモデルを選択される方：</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過年度より、地域一体でデータを活用した</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DX</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推進に取り組む地域からの応募申請を想定しております。</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ウ</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の記載にあたっては、データを活用した</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DX</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推進に取り組んだ事業実績を含めてください。</a:t>
            </a:r>
          </a:p>
        </p:txBody>
      </p:sp>
      <p:sp>
        <p:nvSpPr>
          <p:cNvPr id="9" name="吹き出し: 四角形 8">
            <a:extLst>
              <a:ext uri="{FF2B5EF4-FFF2-40B4-BE49-F238E27FC236}">
                <a16:creationId xmlns:a16="http://schemas.microsoft.com/office/drawing/2014/main" id="{6A31D84C-7BA4-056C-CCEE-3698A27FF9D9}"/>
              </a:ext>
            </a:extLst>
          </p:cNvPr>
          <p:cNvSpPr/>
          <p:nvPr/>
        </p:nvSpPr>
        <p:spPr>
          <a:xfrm>
            <a:off x="-4843741" y="-198543"/>
            <a:ext cx="4632085" cy="843359"/>
          </a:xfrm>
          <a:prstGeom prst="wedgeRectCallout">
            <a:avLst>
              <a:gd name="adj1" fmla="val 6316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エントリー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アドバンスド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46388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1">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rgbClr val="FFFF00"/>
        </a:solidFill>
        <a:ln w="12700">
          <a:solidFill>
            <a:srgbClr val="FFFF00"/>
          </a:solidFill>
          <a:prstDash val="sysDash"/>
          <a:round/>
          <a:headEnd/>
          <a:tailEnd/>
        </a:ln>
        <a:effectLst/>
      </a:spPr>
      <a:bodyPr vertOverflow="overflow" horzOverflow="overflow" wrap="square" lIns="91422" tIns="45710" rIns="91422" bIns="45710" rtlCol="0" anchor="t" anchorCtr="0"/>
      <a:lstStyle>
        <a:defPPr marL="1338263">
          <a:lnSpc>
            <a:spcPct val="130000"/>
          </a:lnSpc>
          <a:tabLst>
            <a:tab pos="3136900" algn="ctr"/>
          </a:tabLst>
          <a:defRPr kumimoji="1" sz="1200" dirty="0" smtClean="0">
            <a:latin typeface="+mj-ea"/>
            <a:ea typeface="+mj-ea"/>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objectDefaults>
  <a:extraClrSchemeLst/>
  <a:extLst>
    <a:ext uri="{05A4C25C-085E-4340-85A3-A5531E510DB2}">
      <thm15:themeFamily xmlns:thm15="http://schemas.microsoft.com/office/thememl/2012/main" name="テーマ1" id="{F131A3AE-9FD4-449A-A77E-08135E4C135A}" vid="{81E3889F-47A8-4717-B30C-EFA6B05493BD}"/>
    </a:ext>
  </a:extLst>
</a:theme>
</file>

<file path=ppt/theme/theme2.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kumimoji="1" sz="1200" dirty="0" smtClean="0">
            <a:latin typeface="Yu Gothic UI" panose="020B0500000000000000" pitchFamily="50" charset="-128"/>
            <a:ea typeface="Yu Gothic UI" panose="020B0500000000000000" pitchFamily="50" charset="-128"/>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標準">
  <a:themeElements>
    <a:clrScheme name="標準">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標準">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標準">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F006C88635A2424E86804F2342387106" ma:contentTypeVersion="2" ma:contentTypeDescription="新しいドキュメントを作成します。" ma:contentTypeScope="" ma:versionID="196024010d054f068e37aa163a5bc920">
  <xsd:schema xmlns:xsd="http://www.w3.org/2001/XMLSchema" xmlns:xs="http://www.w3.org/2001/XMLSchema" xmlns:p="http://schemas.microsoft.com/office/2006/metadata/properties" xmlns:ns2="8796a868-7127-405e-9e92-a32837cab98d" targetNamespace="http://schemas.microsoft.com/office/2006/metadata/properties" ma:root="true" ma:fieldsID="b043b58c7287eec6e265e1f808f77899" ns2:_="">
    <xsd:import namespace="8796a868-7127-405e-9e92-a32837cab98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96a868-7127-405e-9e92-a32837cab9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566842D-B06E-4C9D-90A1-451A45C3CABB}">
  <ds:schemaRefs>
    <ds:schemaRef ds:uri="http://schemas.microsoft.com/sharepoint/v3/contenttype/forms"/>
  </ds:schemaRefs>
</ds:datastoreItem>
</file>

<file path=customXml/itemProps2.xml><?xml version="1.0" encoding="utf-8"?>
<ds:datastoreItem xmlns:ds="http://schemas.openxmlformats.org/officeDocument/2006/customXml" ds:itemID="{C4910682-DFAB-42AC-A1E5-6F94774ADCFC}">
  <ds:schemaRefs>
    <ds:schemaRef ds:uri="8796a868-7127-405e-9e92-a32837cab9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Words>2357</Words>
  <PresentationFormat>A4 210 x 297 mm</PresentationFormat>
  <Paragraphs>199</Paragraphs>
  <Slides>8</Slides>
  <Notes>8</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8</vt:i4>
      </vt:variant>
    </vt:vector>
  </HeadingPairs>
  <TitlesOfParts>
    <vt:vector size="19" baseType="lpstr">
      <vt:lpstr>HGP創英角ｺﾞｼｯｸUB</vt:lpstr>
      <vt:lpstr>Meiryo UI</vt:lpstr>
      <vt:lpstr>ＭＳ Ｐゴシック</vt:lpstr>
      <vt:lpstr>游ゴシック</vt:lpstr>
      <vt:lpstr>Arial</vt:lpstr>
      <vt:lpstr>Calibri</vt:lpstr>
      <vt:lpstr>Calibri Light</vt:lpstr>
      <vt:lpstr>Wingdings</vt:lpstr>
      <vt:lpstr>テーマ1</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